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2.xml" ContentType="application/vnd.openxmlformats-officedocument.drawingml.chartshape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3.xml" ContentType="application/vnd.openxmlformats-officedocument.drawingml.chartshape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4.xml" ContentType="application/vnd.openxmlformats-officedocument.drawingml.chartshape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5.xml" ContentType="application/vnd.openxmlformats-officedocument.drawingml.chartshape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6.xml" ContentType="application/vnd.openxmlformats-officedocument.drawingml.chartshape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drawings/drawing7.xml" ContentType="application/vnd.openxmlformats-officedocument.drawingml.chartshape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drawings/drawing8.xml" ContentType="application/vnd.openxmlformats-officedocument.drawingml.chartshape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drawings/drawing9.xml" ContentType="application/vnd.openxmlformats-officedocument.drawingml.chartshape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4"/>
  </p:sldMasterIdLst>
  <p:notesMasterIdLst>
    <p:notesMasterId r:id="rId12"/>
  </p:notesMasterIdLst>
  <p:sldIdLst>
    <p:sldId id="258" r:id="rId5"/>
    <p:sldId id="422" r:id="rId6"/>
    <p:sldId id="424" r:id="rId7"/>
    <p:sldId id="423" r:id="rId8"/>
    <p:sldId id="421" r:id="rId9"/>
    <p:sldId id="419" r:id="rId10"/>
    <p:sldId id="417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F2F2F2"/>
    <a:srgbClr val="EFEFEF"/>
    <a:srgbClr val="FF0000"/>
    <a:srgbClr val="2F5597"/>
    <a:srgbClr val="005CAB"/>
    <a:srgbClr val="EAEFF7"/>
    <a:srgbClr val="2F5598"/>
    <a:srgbClr val="D2DEE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FCB2C8C-4B04-4CF8-9C34-5BBDD4A78944}" v="1" dt="2024-04-18T04:29:33.3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400" autoAdjust="0"/>
  </p:normalViewPr>
  <p:slideViewPr>
    <p:cSldViewPr snapToGrid="0">
      <p:cViewPr varScale="1">
        <p:scale>
          <a:sx n="80" d="100"/>
          <a:sy n="80" d="100"/>
        </p:scale>
        <p:origin x="132" y="6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chartUserShapes" Target="../drawings/drawing8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chartUserShapes" Target="../drawings/drawing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chartUserShapes" Target="../drawings/drawing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36711711711712"/>
          <c:y val="0.24693106396734116"/>
          <c:w val="0.78726651651651647"/>
          <c:h val="0.7896146122214784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CF9-46DF-85F4-FCDA2BE889D5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CF9-46DF-85F4-FCDA2BE889D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CF9-46DF-85F4-FCDA2BE889D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CF9-46DF-85F4-FCDA2BE889D5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4.8</c:v>
                </c:pt>
                <c:pt idx="1">
                  <c:v>85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CF9-46DF-85F4-FCDA2BE889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757-44AD-8082-E6A7C7CF0F91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757-44AD-8082-E6A7C7CF0F9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757-44AD-8082-E6A7C7CF0F9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757-44AD-8082-E6A7C7CF0F91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.9</c:v>
                </c:pt>
                <c:pt idx="1">
                  <c:v>98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757-44AD-8082-E6A7C7CF0F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36711711711712"/>
          <c:y val="0.24693106396734116"/>
          <c:w val="0.78726651651651647"/>
          <c:h val="0.78961461222147844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36711711711712"/>
          <c:y val="0.24693106396734116"/>
          <c:w val="0.78726651651651647"/>
          <c:h val="0.7896146122214784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1D9-4A7C-8DDD-97BA3F0ADC4C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1D9-4A7C-8DDD-97BA3F0ADC4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1D9-4A7C-8DDD-97BA3F0ADC4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1D9-4A7C-8DDD-97BA3F0ADC4C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0.00%</c:formatCode>
                <c:ptCount val="4"/>
                <c:pt idx="0" formatCode="General">
                  <c:v>14.8</c:v>
                </c:pt>
                <c:pt idx="1">
                  <c:v>85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1D9-4A7C-8DDD-97BA3F0ADC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48A-4201-A89F-D635532EED6B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48A-4201-A89F-D635532EED6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48A-4201-A89F-D635532EED6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48A-4201-A89F-D635532EED6B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.7</c:v>
                </c:pt>
                <c:pt idx="1">
                  <c:v>9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48A-4201-A89F-D635532EED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36711711711712"/>
          <c:y val="0.24693106396734116"/>
          <c:w val="0.78726651651651647"/>
          <c:h val="0.78961461222147844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36711711711712"/>
          <c:y val="0.24693106396734116"/>
          <c:w val="0.78726651651651647"/>
          <c:h val="0.7896146122214784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380-4BF0-AD0D-A173B559B539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380-4BF0-AD0D-A173B559B53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380-4BF0-AD0D-A173B559B53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380-4BF0-AD0D-A173B559B539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4.8</c:v>
                </c:pt>
                <c:pt idx="1">
                  <c:v>85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380-4BF0-AD0D-A173B559B5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3EC-4628-A7D8-01EACD6FB75C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3EC-4628-A7D8-01EACD6FB75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3EC-4628-A7D8-01EACD6FB75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3EC-4628-A7D8-01EACD6FB75C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.9</c:v>
                </c:pt>
                <c:pt idx="1">
                  <c:v>98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3EC-4628-A7D8-01EACD6FB7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36711711711712"/>
          <c:y val="0.24693106396734116"/>
          <c:w val="0.78726651651651647"/>
          <c:h val="0.78961461222147844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1779</cdr:x>
      <cdr:y>0.48759</cdr:y>
    </cdr:from>
    <cdr:to>
      <cdr:x>0.84877</cdr:x>
      <cdr:y>0.75527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BBBEDE2B-4777-C3D1-3650-1EF61BF3F4EE}"/>
            </a:ext>
          </a:extLst>
        </cdr:cNvPr>
        <cdr:cNvSpPr txBox="1"/>
      </cdr:nvSpPr>
      <cdr:spPr>
        <a:xfrm xmlns:a="http://schemas.openxmlformats.org/drawingml/2006/main">
          <a:off x="290091" y="748160"/>
          <a:ext cx="840466" cy="41073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endParaRPr lang="en-US" sz="1600" b="1" dirty="0"/>
        </a:p>
        <a:p xmlns:a="http://schemas.openxmlformats.org/drawingml/2006/main">
          <a:pPr algn="ctr"/>
          <a:endParaRPr lang="en-US" sz="1600" b="1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9033</cdr:x>
      <cdr:y>0.47567</cdr:y>
    </cdr:from>
    <cdr:to>
      <cdr:x>0.82131</cdr:x>
      <cdr:y>0.7433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BBBEDE2B-4777-C3D1-3650-1EF61BF3F4EE}"/>
            </a:ext>
          </a:extLst>
        </cdr:cNvPr>
        <cdr:cNvSpPr txBox="1"/>
      </cdr:nvSpPr>
      <cdr:spPr>
        <a:xfrm xmlns:a="http://schemas.openxmlformats.org/drawingml/2006/main">
          <a:off x="253520" y="729874"/>
          <a:ext cx="840466" cy="41073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1600" b="1" dirty="0"/>
            <a:t>85.2%</a:t>
          </a:r>
        </a:p>
        <a:p xmlns:a="http://schemas.openxmlformats.org/drawingml/2006/main">
          <a:pPr algn="ctr"/>
          <a:endParaRPr lang="en-US" sz="1600" b="1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8036</cdr:x>
      <cdr:y>0.40824</cdr:y>
    </cdr:from>
    <cdr:to>
      <cdr:x>0.81964</cdr:x>
      <cdr:y>0.6119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BBBEDE2B-4777-C3D1-3650-1EF61BF3F4EE}"/>
            </a:ext>
          </a:extLst>
        </cdr:cNvPr>
        <cdr:cNvSpPr txBox="1"/>
      </cdr:nvSpPr>
      <cdr:spPr>
        <a:xfrm xmlns:a="http://schemas.openxmlformats.org/drawingml/2006/main">
          <a:off x="240243" y="727462"/>
          <a:ext cx="851513" cy="36300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1600" b="1" dirty="0"/>
            <a:t>98.10%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7538</cdr:x>
      <cdr:y>0.35533</cdr:y>
    </cdr:from>
    <cdr:to>
      <cdr:x>0.79205</cdr:x>
      <cdr:y>0.54889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BBBEDE2B-4777-C3D1-3650-1EF61BF3F4EE}"/>
            </a:ext>
          </a:extLst>
        </cdr:cNvPr>
        <cdr:cNvSpPr txBox="1"/>
      </cdr:nvSpPr>
      <cdr:spPr>
        <a:xfrm xmlns:a="http://schemas.openxmlformats.org/drawingml/2006/main">
          <a:off x="207312" y="471894"/>
          <a:ext cx="728958" cy="25705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endParaRPr lang="en-US" sz="1600" b="1" dirty="0"/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21779</cdr:x>
      <cdr:y>0.48759</cdr:y>
    </cdr:from>
    <cdr:to>
      <cdr:x>0.84877</cdr:x>
      <cdr:y>0.75527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BBBEDE2B-4777-C3D1-3650-1EF61BF3F4EE}"/>
            </a:ext>
          </a:extLst>
        </cdr:cNvPr>
        <cdr:cNvSpPr txBox="1"/>
      </cdr:nvSpPr>
      <cdr:spPr>
        <a:xfrm xmlns:a="http://schemas.openxmlformats.org/drawingml/2006/main">
          <a:off x="290091" y="748160"/>
          <a:ext cx="840466" cy="41073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endParaRPr lang="en-US" sz="1600" b="1" dirty="0"/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18347</cdr:x>
      <cdr:y>0.47189</cdr:y>
    </cdr:from>
    <cdr:to>
      <cdr:x>0.81445</cdr:x>
      <cdr:y>0.73957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BBBEDE2B-4777-C3D1-3650-1EF61BF3F4EE}"/>
            </a:ext>
          </a:extLst>
        </cdr:cNvPr>
        <cdr:cNvSpPr txBox="1"/>
      </cdr:nvSpPr>
      <cdr:spPr>
        <a:xfrm xmlns:a="http://schemas.openxmlformats.org/drawingml/2006/main">
          <a:off x="244376" y="549756"/>
          <a:ext cx="840466" cy="31184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1400" b="1" dirty="0"/>
            <a:t>85.2%</a:t>
          </a:r>
        </a:p>
        <a:p xmlns:a="http://schemas.openxmlformats.org/drawingml/2006/main">
          <a:pPr algn="ctr"/>
          <a:endParaRPr lang="en-US" sz="1600" b="1" dirty="0"/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20095</cdr:x>
      <cdr:y>0.37448</cdr:y>
    </cdr:from>
    <cdr:to>
      <cdr:x>0.81118</cdr:x>
      <cdr:y>0.56392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BBBEDE2B-4777-C3D1-3650-1EF61BF3F4EE}"/>
            </a:ext>
          </a:extLst>
        </cdr:cNvPr>
        <cdr:cNvSpPr txBox="1"/>
      </cdr:nvSpPr>
      <cdr:spPr>
        <a:xfrm xmlns:a="http://schemas.openxmlformats.org/drawingml/2006/main">
          <a:off x="267672" y="454987"/>
          <a:ext cx="812826" cy="23017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1400" b="1" dirty="0"/>
            <a:t>98.10%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18451</cdr:x>
      <cdr:y>0.5</cdr:y>
    </cdr:from>
    <cdr:to>
      <cdr:x>0.81549</cdr:x>
      <cdr:y>0.76768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BBBEDE2B-4777-C3D1-3650-1EF61BF3F4EE}"/>
            </a:ext>
          </a:extLst>
        </cdr:cNvPr>
        <cdr:cNvSpPr txBox="1"/>
      </cdr:nvSpPr>
      <cdr:spPr>
        <a:xfrm xmlns:a="http://schemas.openxmlformats.org/drawingml/2006/main">
          <a:off x="245767" y="767204"/>
          <a:ext cx="840466" cy="41073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1600" b="1" dirty="0"/>
            <a:t>85.2%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20095</cdr:x>
      <cdr:y>0.37448</cdr:y>
    </cdr:from>
    <cdr:to>
      <cdr:x>0.81118</cdr:x>
      <cdr:y>0.56392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BBBEDE2B-4777-C3D1-3650-1EF61BF3F4EE}"/>
            </a:ext>
          </a:extLst>
        </cdr:cNvPr>
        <cdr:cNvSpPr txBox="1"/>
      </cdr:nvSpPr>
      <cdr:spPr>
        <a:xfrm xmlns:a="http://schemas.openxmlformats.org/drawingml/2006/main">
          <a:off x="267672" y="454987"/>
          <a:ext cx="812826" cy="23017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1400" b="1" dirty="0"/>
            <a:t>98.10%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A27D9B-AE93-47A3-88FD-CB80385CD563}" type="datetimeFigureOut">
              <a:rPr lang="en-US" smtClean="0"/>
              <a:t>5/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458049-099B-4311-93C0-4E2515A198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70858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101017-BFE5-4658-9134-741589A354E6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5075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101017-BFE5-4658-9134-741589A354E6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3223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101017-BFE5-4658-9134-741589A354E6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8045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101017-BFE5-4658-9134-741589A354E6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50773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101017-BFE5-4658-9134-741589A354E6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8876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101017-BFE5-4658-9134-741589A354E6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7392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D34C7B-86EB-4E93-B035-AD07203AA9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5C13C7C-D404-4AD0-A7D8-EFF82C505D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DA133B-BFCE-40EF-ABFE-F7953EE3B6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D737D-3F08-4223-8F18-DDA48D1CEC59}" type="datetimeFigureOut">
              <a:rPr lang="en-US" smtClean="0"/>
              <a:t>5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4A627D-7EFE-408E-A027-CE0890DAFF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C2635A-5413-4A54-950C-C72850102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2B246-2FAE-45EA-AB5E-9BCB6E8CAC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1812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5E7509-E9D1-4830-95C6-151957EE8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759063D-2C25-401D-88DF-7A67AED17B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B162F2-7E9C-47BF-BD0F-40FD4CAB4C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D737D-3F08-4223-8F18-DDA48D1CEC59}" type="datetimeFigureOut">
              <a:rPr lang="en-US" smtClean="0"/>
              <a:t>5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547181-C8C2-4A4C-A641-CC08C8ABD1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506EF4-E410-4DA3-B47D-6D1D3641A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2B246-2FAE-45EA-AB5E-9BCB6E8CAC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98254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CD41E7C-EB0E-40D2-AE9E-9E9544FF155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53030D3-50CC-44AC-A1C4-9A2BB52C0C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B050B1-B76B-45E9-8DB5-9DB469C78D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D737D-3F08-4223-8F18-DDA48D1CEC59}" type="datetimeFigureOut">
              <a:rPr lang="en-US" smtClean="0"/>
              <a:t>5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12A76A-C553-455C-8CD8-A583B1FC91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BFB308-7322-4FB3-B841-E043A392A9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2B246-2FAE-45EA-AB5E-9BCB6E8CAC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43735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1C1101-61F1-483F-8C1E-657FA7897A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95D816-FA1D-492C-AE93-5107CB3170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C42A30-650B-4FC6-9E48-0FD0EB1D8B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D737D-3F08-4223-8F18-DDA48D1CEC59}" type="datetimeFigureOut">
              <a:rPr lang="en-US" smtClean="0"/>
              <a:t>5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9895C7-1CE9-4704-BDF0-0F2405D331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EB04D5-7BB1-4498-A22A-CA6C5C6F6D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2B246-2FAE-45EA-AB5E-9BCB6E8CAC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2627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C97B3E-009C-4E0C-9BBC-B8ADF4D3B3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0F35C9-3399-48EF-8A42-717A7CC8F5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80C88A-F161-482E-A9C5-229D4479A4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D737D-3F08-4223-8F18-DDA48D1CEC59}" type="datetimeFigureOut">
              <a:rPr lang="en-US" smtClean="0"/>
              <a:t>5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7886E-BEB9-41C6-90FD-26C689AB3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D4723B-F397-46E7-8FA7-0C6E3E1033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2B246-2FAE-45EA-AB5E-9BCB6E8CAC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5108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B6A829-3FA7-483F-9E87-E5EB855CB5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F0D90C-F4CE-4701-8DC7-FB733C0A8E8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518DDF2-6AD2-4C28-A437-BAC36C813C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8148E3-3F9D-46E9-BE0B-372DF2DDBB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D737D-3F08-4223-8F18-DDA48D1CEC59}" type="datetimeFigureOut">
              <a:rPr lang="en-US" smtClean="0"/>
              <a:t>5/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0F2626-8EA8-4889-8F48-AD986BC44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60AE9B-CFDF-414D-9769-E3BF721E80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2B246-2FAE-45EA-AB5E-9BCB6E8CAC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50844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13FF01-983C-44F4-B2FE-B1C93C0AF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CA2ED6-FF22-42EB-A678-FA7E6EAC27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34B6529-AE64-40C0-8720-71B685399A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C8EC7A-D6E3-418C-9A33-7B620240E4F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10C80B8-5871-40C6-BC9E-EE5B024D117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8DC2D61-E44B-42E3-9CCF-5A5163203B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D737D-3F08-4223-8F18-DDA48D1CEC59}" type="datetimeFigureOut">
              <a:rPr lang="en-US" smtClean="0"/>
              <a:t>5/3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35913F8-867C-4061-96AF-9D981EAB11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BDF97C9-19D2-4822-A3E0-90A9C9480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2B246-2FAE-45EA-AB5E-9BCB6E8CAC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08340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C6AF01-890E-4DAB-912D-DA80F74BF1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717359-EE56-436E-8054-AD0ACB9299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D737D-3F08-4223-8F18-DDA48D1CEC59}" type="datetimeFigureOut">
              <a:rPr lang="en-US" smtClean="0"/>
              <a:t>5/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9B89CE-F0A1-419C-9D03-A8570722E6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F515D9-1BD8-4118-A80C-EAADEFE886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2B246-2FAE-45EA-AB5E-9BCB6E8CAC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0143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4673812-CE88-41AD-8E89-7BEE058FDF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D737D-3F08-4223-8F18-DDA48D1CEC59}" type="datetimeFigureOut">
              <a:rPr lang="en-US" smtClean="0"/>
              <a:t>5/3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9D4F39C-1441-46EB-BCDF-0712F885D4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A4343D-0B4A-42D2-9A05-4463E969A4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2B246-2FAE-45EA-AB5E-9BCB6E8CAC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301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4F8C3B-435B-44E2-BA7D-5B03510B6D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375DAC-F092-4CFD-9215-4BDBEA41EC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708CE6-F991-4168-81E5-78C6C196EAB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D4E44E8-05BB-4393-B322-51767F42CE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D737D-3F08-4223-8F18-DDA48D1CEC59}" type="datetimeFigureOut">
              <a:rPr lang="en-US" smtClean="0"/>
              <a:t>5/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9AD435-4666-423E-94D3-96E70F1BA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848141-8CA1-4039-B26D-C7211FA3E8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2B246-2FAE-45EA-AB5E-9BCB6E8CAC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94257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F2E57C-BB1F-4D5D-AA8B-71989A9A4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987668B-172D-40AF-B7A5-AAFEB6E2D43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4E29C3-110C-4EA3-92A4-3E9B464E8CB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59FBCA-B7CD-489F-B273-D6219E74B2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D737D-3F08-4223-8F18-DDA48D1CEC59}" type="datetimeFigureOut">
              <a:rPr lang="en-US" smtClean="0"/>
              <a:t>5/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8F1592-E2E8-47F0-A222-78910AA8FB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EDA5AD7-CEC0-4DCF-9E7B-D53BE3393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2B246-2FAE-45EA-AB5E-9BCB6E8CAC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7731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8A718B0-01D7-4D6D-8292-16B769416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6B4787-7B4C-4564-9CB9-637F31429A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A25195-A9DB-474E-A6D6-61CF891B1F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CD737D-3F08-4223-8F18-DDA48D1CEC59}" type="datetimeFigureOut">
              <a:rPr lang="en-US" smtClean="0"/>
              <a:t>5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59D180-3924-4AC3-BD35-03DEC30020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E2836D-6B9A-406D-9C23-BAF1F54D81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82B246-2FAE-45EA-AB5E-9BCB6E8CAC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148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11" Type="http://schemas.openxmlformats.org/officeDocument/2006/relationships/chart" Target="../charts/chart4.xml"/><Relationship Id="rId5" Type="http://schemas.openxmlformats.org/officeDocument/2006/relationships/image" Target="../media/image3.emf"/><Relationship Id="rId10" Type="http://schemas.openxmlformats.org/officeDocument/2006/relationships/chart" Target="../charts/chart3.xml"/><Relationship Id="rId4" Type="http://schemas.openxmlformats.org/officeDocument/2006/relationships/oleObject" Target="../embeddings/oleObject1.bin"/><Relationship Id="rId9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11" Type="http://schemas.openxmlformats.org/officeDocument/2006/relationships/chart" Target="../charts/chart8.xml"/><Relationship Id="rId5" Type="http://schemas.openxmlformats.org/officeDocument/2006/relationships/image" Target="../media/image3.emf"/><Relationship Id="rId10" Type="http://schemas.openxmlformats.org/officeDocument/2006/relationships/chart" Target="../charts/chart7.xml"/><Relationship Id="rId4" Type="http://schemas.openxmlformats.org/officeDocument/2006/relationships/oleObject" Target="../embeddings/oleObject2.bin"/><Relationship Id="rId9" Type="http://schemas.openxmlformats.org/officeDocument/2006/relationships/chart" Target="../charts/char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10" Type="http://schemas.openxmlformats.org/officeDocument/2006/relationships/chart" Target="../charts/chart11.xml"/><Relationship Id="rId4" Type="http://schemas.openxmlformats.org/officeDocument/2006/relationships/oleObject" Target="../embeddings/oleObject3.bin"/><Relationship Id="rId9" Type="http://schemas.openxmlformats.org/officeDocument/2006/relationships/chart" Target="../charts/char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4DF735E9-FB48-CF4A-B66D-3AA73548E9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36525"/>
            <a:ext cx="12213603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B2C103D-A230-A74D-BCDE-0E4C13F70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208" y="1328075"/>
            <a:ext cx="10567779" cy="2852737"/>
          </a:xfrm>
        </p:spPr>
        <p:txBody>
          <a:bodyPr>
            <a:normAutofit fontScale="90000"/>
          </a:bodyPr>
          <a:lstStyle/>
          <a:p>
            <a:r>
              <a:rPr lang="en-US"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UM VOLTAGE SUPPLY CONNECTION IN ENERGYSENSE</a:t>
            </a:r>
            <a:br>
              <a:rPr lang="en-US"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VSC)</a:t>
            </a:r>
            <a:endParaRPr lang="en-US" sz="4800">
              <a:solidFill>
                <a:schemeClr val="bg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4816D9-43ED-8444-8268-D8FC4FC884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3286" y="4356496"/>
            <a:ext cx="5538470" cy="1500187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EKLY PROJECT STATUS</a:t>
            </a:r>
          </a:p>
          <a:p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2000" b="1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d</a:t>
            </a: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y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C0E283-A961-483B-8E43-1A07CEB4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5177D4-3BE6-174D-995B-A7CD8488E896}" type="slidenum">
              <a:rPr lang="en-US" smtClean="0"/>
              <a:t>1</a:t>
            </a:fld>
            <a:endParaRPr lang="en-US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D565CEB3-D7DF-4419-BAC4-8249118F92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05669" y="292376"/>
            <a:ext cx="1146963" cy="111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3476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57A7E4AC-BE97-429A-BCCE-3C5DB7DF3C71}"/>
              </a:ext>
            </a:extLst>
          </p:cNvPr>
          <p:cNvSpPr txBox="1"/>
          <p:nvPr/>
        </p:nvSpPr>
        <p:spPr>
          <a:xfrm>
            <a:off x="10634377" y="154235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9" name="Content Placeholder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81369591"/>
              </p:ext>
            </p:extLst>
          </p:nvPr>
        </p:nvGraphicFramePr>
        <p:xfrm>
          <a:off x="5166040" y="1995776"/>
          <a:ext cx="6927060" cy="4313583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8917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01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701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01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701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5474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610026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Y MILESTONES</a:t>
                      </a:r>
                      <a:endParaRPr lang="en-US" sz="11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LANNED START</a:t>
                      </a:r>
                      <a:endParaRPr lang="en-US" sz="11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LANNED END</a:t>
                      </a:r>
                      <a:endParaRPr lang="en-US" sz="11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UAL START</a:t>
                      </a:r>
                      <a:endParaRPr lang="en-US" sz="11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UAL END</a:t>
                      </a:r>
                      <a:endParaRPr lang="en-US" sz="11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1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ATUS</a:t>
                      </a:r>
                      <a:endParaRPr lang="en-US" sz="1100" b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3338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er Requirement Specification (URS) &amp; Joint Application Design (JAD) Session </a:t>
                      </a:r>
                      <a:endParaRPr lang="en-MY" altLang="en-US" sz="900" baseline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5-Feb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-Mar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5-Feb-22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alt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1-Jul-22</a:t>
                      </a: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000" b="1" cap="all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</a:t>
                      </a:r>
                    </a:p>
                  </a:txBody>
                  <a:tcPr marL="42679" marR="42679" marT="42679" marB="42679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5999772"/>
                  </a:ext>
                </a:extLst>
              </a:tr>
              <a:tr h="281964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er Requirement Sign-Off</a:t>
                      </a:r>
                      <a:endParaRPr lang="en-MY" altLang="en-US" sz="900" baseline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-Mar-22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-Mar-22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alt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-Mar-22</a:t>
                      </a: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000" b="1" cap="all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</a:t>
                      </a:r>
                    </a:p>
                  </a:txBody>
                  <a:tcPr marL="42679" marR="42679" marT="42679" marB="42679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666918"/>
                  </a:ext>
                </a:extLst>
              </a:tr>
              <a:tr h="267586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ystem Design Session</a:t>
                      </a:r>
                      <a:endParaRPr lang="en-MY" altLang="en-US" sz="900" baseline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-Mar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-Mar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-Jan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-Mar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000" b="1" cap="all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</a:t>
                      </a:r>
                    </a:p>
                  </a:txBody>
                  <a:tcPr marL="42679" marR="42679" marT="42679" marB="42679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2017417"/>
                  </a:ext>
                </a:extLst>
              </a:tr>
              <a:tr h="267586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en-US" sz="900" b="1" u="sng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velopment</a:t>
                      </a:r>
                      <a:endParaRPr lang="en-MY" altLang="en-US" sz="900" b="1" u="sng" baseline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US" sz="1000" b="1" cap="all" baseline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0088858"/>
                  </a:ext>
                </a:extLst>
              </a:tr>
              <a:tr h="283230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tegration with </a:t>
                      </a:r>
                      <a:r>
                        <a:rPr lang="en-MY" altLang="en-US" sz="900" baseline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yTNB</a:t>
                      </a:r>
                      <a:endParaRPr lang="en-MY" altLang="en-US" sz="900" baseline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-Aug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-Aug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000" b="1" cap="all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</a:t>
                      </a:r>
                    </a:p>
                  </a:txBody>
                  <a:tcPr marL="42679" marR="42679" marT="42679" marB="42679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3435440"/>
                  </a:ext>
                </a:extLst>
              </a:tr>
              <a:tr h="267586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aintain Old Application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-Aug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-Aug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1" i="0" u="none" strike="noStrike" kern="1200" cap="all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2256918"/>
                  </a:ext>
                </a:extLst>
              </a:tr>
              <a:tr h="347602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pplication Number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-Aug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5-Aug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2979802"/>
                  </a:ext>
                </a:extLst>
              </a:tr>
              <a:tr h="267586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pplication Status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-Aug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8-Aug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1-Jul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7583647"/>
                  </a:ext>
                </a:extLst>
              </a:tr>
              <a:tr h="315489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pplication Stages Timeline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1-Aug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1-Aug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1-Jul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%</a:t>
                      </a:r>
                      <a:endParaRPr kumimoji="0" lang="en-US" sz="1000" b="1" i="0" u="none" strike="noStrike" kern="1200" cap="all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7462866"/>
                  </a:ext>
                </a:extLst>
              </a:tr>
              <a:tr h="315489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Getting Electricity (GE) Eligibility 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-Sept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-Sept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2769469"/>
                  </a:ext>
                </a:extLst>
              </a:tr>
              <a:tr h="416101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pplication Submission (non-draft)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2-Sept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9-Sept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3580095"/>
                  </a:ext>
                </a:extLst>
              </a:tr>
            </a:tbl>
          </a:graphicData>
        </a:graphic>
      </p:graphicFrame>
      <p:sp>
        <p:nvSpPr>
          <p:cNvPr id="7" name="Chevron 6">
            <a:extLst>
              <a:ext uri="{FF2B5EF4-FFF2-40B4-BE49-F238E27FC236}">
                <a16:creationId xmlns:a16="http://schemas.microsoft.com/office/drawing/2014/main" id="{9CC5804A-24DB-3C89-5E18-6BBB64078CDF}"/>
              </a:ext>
            </a:extLst>
          </p:cNvPr>
          <p:cNvSpPr/>
          <p:nvPr/>
        </p:nvSpPr>
        <p:spPr>
          <a:xfrm>
            <a:off x="10925015" y="1609847"/>
            <a:ext cx="1080000" cy="230061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INING &amp; CLOSE</a:t>
            </a:r>
          </a:p>
        </p:txBody>
      </p:sp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AA097E5C-F62F-235B-08D8-C68096535D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84884" y="114006"/>
            <a:ext cx="1520131" cy="770200"/>
          </a:xfrm>
          <a:prstGeom prst="rect">
            <a:avLst/>
          </a:prstGeom>
        </p:spPr>
      </p:pic>
      <p:sp>
        <p:nvSpPr>
          <p:cNvPr id="14" name="Snip Diagonal Corner of Rectangle 13">
            <a:extLst>
              <a:ext uri="{FF2B5EF4-FFF2-40B4-BE49-F238E27FC236}">
                <a16:creationId xmlns:a16="http://schemas.microsoft.com/office/drawing/2014/main" id="{F7E70A08-7693-91EA-BFFA-2B6172F22F4E}"/>
              </a:ext>
            </a:extLst>
          </p:cNvPr>
          <p:cNvSpPr/>
          <p:nvPr/>
        </p:nvSpPr>
        <p:spPr>
          <a:xfrm>
            <a:off x="186986" y="114007"/>
            <a:ext cx="6442414" cy="770199"/>
          </a:xfrm>
          <a:prstGeom prst="snip2DiagRect">
            <a:avLst>
              <a:gd name="adj1" fmla="val 0"/>
              <a:gd name="adj2" fmla="val 21983"/>
            </a:avLst>
          </a:prstGeom>
          <a:solidFill>
            <a:srgbClr val="2F5597"/>
          </a:solidFill>
          <a:ln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1600" b="1" u="sng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dium Voltage Supply Connection in </a:t>
            </a:r>
            <a:r>
              <a:rPr lang="en-US" sz="1600" b="1" u="sng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ergySense</a:t>
            </a:r>
            <a:r>
              <a:rPr lang="en-US" sz="1600" b="1" u="sng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MVSC)</a:t>
            </a:r>
          </a:p>
          <a:p>
            <a:pPr>
              <a:lnSpc>
                <a:spcPct val="150000"/>
              </a:lnSpc>
            </a:pPr>
            <a:r>
              <a:rPr lang="en-US" sz="14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JECT STATUS SUMMARY</a:t>
            </a:r>
            <a:endParaRPr lang="en-US" sz="1400" i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Snip Diagonal Corner of Rectangle 14">
            <a:extLst>
              <a:ext uri="{FF2B5EF4-FFF2-40B4-BE49-F238E27FC236}">
                <a16:creationId xmlns:a16="http://schemas.microsoft.com/office/drawing/2014/main" id="{6F4CF87C-5917-D15A-D3AB-DA1323E7D5AB}"/>
              </a:ext>
            </a:extLst>
          </p:cNvPr>
          <p:cNvSpPr/>
          <p:nvPr/>
        </p:nvSpPr>
        <p:spPr>
          <a:xfrm>
            <a:off x="37940" y="25062"/>
            <a:ext cx="12116120" cy="957578"/>
          </a:xfrm>
          <a:prstGeom prst="snip2DiagRect">
            <a:avLst/>
          </a:prstGeom>
          <a:noFill/>
          <a:ln w="28575"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6F07A618-F4E7-6FB4-D9E0-98290CE6D817}"/>
              </a:ext>
            </a:extLst>
          </p:cNvPr>
          <p:cNvGraphicFramePr>
            <a:graphicFrameLocks noGrp="1"/>
          </p:cNvGraphicFramePr>
          <p:nvPr/>
        </p:nvGraphicFramePr>
        <p:xfrm>
          <a:off x="37940" y="1553341"/>
          <a:ext cx="5053002" cy="189906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526501">
                  <a:extLst>
                    <a:ext uri="{9D8B030D-6E8A-4147-A177-3AD203B41FA5}">
                      <a16:colId xmlns:a16="http://schemas.microsoft.com/office/drawing/2014/main" val="1349750499"/>
                    </a:ext>
                  </a:extLst>
                </a:gridCol>
                <a:gridCol w="2526501">
                  <a:extLst>
                    <a:ext uri="{9D8B030D-6E8A-4147-A177-3AD203B41FA5}">
                      <a16:colId xmlns:a16="http://schemas.microsoft.com/office/drawing/2014/main" val="976763585"/>
                    </a:ext>
                  </a:extLst>
                </a:gridCol>
              </a:tblGrid>
              <a:tr h="304723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OJECT PROGRESS</a:t>
                      </a:r>
                    </a:p>
                  </a:txBody>
                  <a:tcPr marL="81303" marR="81303" marT="40653" marB="40653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9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ned Start</a:t>
                      </a:r>
                      <a:endParaRPr lang="en-US" sz="9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303" marR="81303" marT="40653" marB="40653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465583"/>
                  </a:ext>
                </a:extLst>
              </a:tr>
              <a:tr h="263676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MY" altLang="en-US" sz="1400" b="1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ual %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4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lanned %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5310658"/>
                  </a:ext>
                </a:extLst>
              </a:tr>
              <a:tr h="1167010">
                <a:tc>
                  <a:txBody>
                    <a:bodyPr/>
                    <a:lstStyle/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461218"/>
                  </a:ext>
                </a:extLst>
              </a:tr>
            </a:tbl>
          </a:graphicData>
        </a:graphic>
      </p:graphicFrame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0D0CC569-A6A3-BA90-C2E4-C55DE689FC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05659" y="100341"/>
            <a:ext cx="730181" cy="710915"/>
          </a:xfrm>
          <a:prstGeom prst="rect">
            <a:avLst/>
          </a:prstGeom>
        </p:spPr>
      </p:pic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9C81DA95-7BBF-2D63-C584-DB9BCC5F178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70435970"/>
              </p:ext>
            </p:extLst>
          </p:nvPr>
        </p:nvGraphicFramePr>
        <p:xfrm>
          <a:off x="3093631" y="1835496"/>
          <a:ext cx="1332000" cy="1781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7" name="Chevron 26">
            <a:extLst>
              <a:ext uri="{FF2B5EF4-FFF2-40B4-BE49-F238E27FC236}">
                <a16:creationId xmlns:a16="http://schemas.microsoft.com/office/drawing/2014/main" id="{E3D24B18-DAAC-DDAB-1499-6AE30C80C765}"/>
              </a:ext>
            </a:extLst>
          </p:cNvPr>
          <p:cNvSpPr/>
          <p:nvPr/>
        </p:nvSpPr>
        <p:spPr>
          <a:xfrm>
            <a:off x="8907514" y="1606639"/>
            <a:ext cx="1080000" cy="230061"/>
          </a:xfrm>
          <a:prstGeom prst="chevron">
            <a:avLst/>
          </a:prstGeom>
          <a:solidFill>
            <a:schemeClr val="accent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8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ILD</a:t>
            </a:r>
          </a:p>
        </p:txBody>
      </p:sp>
      <p:sp>
        <p:nvSpPr>
          <p:cNvPr id="28" name="Chevron 27">
            <a:extLst>
              <a:ext uri="{FF2B5EF4-FFF2-40B4-BE49-F238E27FC236}">
                <a16:creationId xmlns:a16="http://schemas.microsoft.com/office/drawing/2014/main" id="{EF5B0C4A-6D86-C694-8C4E-2C8F1A362517}"/>
              </a:ext>
            </a:extLst>
          </p:cNvPr>
          <p:cNvSpPr/>
          <p:nvPr/>
        </p:nvSpPr>
        <p:spPr>
          <a:xfrm>
            <a:off x="7970013" y="1606639"/>
            <a:ext cx="1008000" cy="230061"/>
          </a:xfrm>
          <a:prstGeom prst="chevron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ALYSE &amp; DESIGN</a:t>
            </a:r>
          </a:p>
        </p:txBody>
      </p:sp>
      <p:sp>
        <p:nvSpPr>
          <p:cNvPr id="29" name="Chevron 28">
            <a:extLst>
              <a:ext uri="{FF2B5EF4-FFF2-40B4-BE49-F238E27FC236}">
                <a16:creationId xmlns:a16="http://schemas.microsoft.com/office/drawing/2014/main" id="{EA2545F5-3CF3-26BA-E9E9-33557908304C}"/>
              </a:ext>
            </a:extLst>
          </p:cNvPr>
          <p:cNvSpPr/>
          <p:nvPr/>
        </p:nvSpPr>
        <p:spPr>
          <a:xfrm>
            <a:off x="6966536" y="1614707"/>
            <a:ext cx="1080000" cy="230061"/>
          </a:xfrm>
          <a:prstGeom prst="chevron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8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LANNING</a:t>
            </a:r>
          </a:p>
        </p:txBody>
      </p:sp>
      <p:sp>
        <p:nvSpPr>
          <p:cNvPr id="30" name="Chevron 29">
            <a:extLst>
              <a:ext uri="{FF2B5EF4-FFF2-40B4-BE49-F238E27FC236}">
                <a16:creationId xmlns:a16="http://schemas.microsoft.com/office/drawing/2014/main" id="{FC8ED96A-F67F-2D3A-6539-14217201C84F}"/>
              </a:ext>
            </a:extLst>
          </p:cNvPr>
          <p:cNvSpPr/>
          <p:nvPr/>
        </p:nvSpPr>
        <p:spPr>
          <a:xfrm>
            <a:off x="5951920" y="1611682"/>
            <a:ext cx="1080000" cy="230061"/>
          </a:xfrm>
          <a:prstGeom prst="chevron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8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ITIATION</a:t>
            </a:r>
          </a:p>
        </p:txBody>
      </p:sp>
      <p:sp>
        <p:nvSpPr>
          <p:cNvPr id="31" name="Chevron 30">
            <a:extLst>
              <a:ext uri="{FF2B5EF4-FFF2-40B4-BE49-F238E27FC236}">
                <a16:creationId xmlns:a16="http://schemas.microsoft.com/office/drawing/2014/main" id="{B09C3877-4D3E-FE44-FA95-3B944689A57E}"/>
              </a:ext>
            </a:extLst>
          </p:cNvPr>
          <p:cNvSpPr/>
          <p:nvPr/>
        </p:nvSpPr>
        <p:spPr>
          <a:xfrm>
            <a:off x="9916025" y="1605435"/>
            <a:ext cx="1080000" cy="230061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INING &amp; CLOSE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06447FD0-C2AF-6F40-A7D2-292926AC99F0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1447171707"/>
              </p:ext>
            </p:extLst>
          </p:nvPr>
        </p:nvGraphicFramePr>
        <p:xfrm>
          <a:off x="74938" y="3312012"/>
          <a:ext cx="5016004" cy="5558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16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6217">
                <a:tc>
                  <a:txBody>
                    <a:bodyPr/>
                    <a:lstStyle/>
                    <a:p>
                      <a:pPr algn="ctr"/>
                      <a:r>
                        <a:rPr lang="en-MY" sz="140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HIEVEMENTS</a:t>
                      </a:r>
                      <a:r>
                        <a:rPr lang="en-MY" sz="1400" baseline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/ KEY HIGHLIGHTS</a:t>
                      </a:r>
                      <a:endParaRPr lang="en-MY" sz="140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0449"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altLang="en-US" sz="900" b="0" i="0" kern="1200" baseline="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Functional Design Document Review – Completed with minor comments from En. Ghaffar</a:t>
                      </a:r>
                    </a:p>
                  </a:txBody>
                  <a:tcPr marL="36000" marR="36000" marT="36000" marB="3600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3" name="Rectangle 32">
            <a:extLst>
              <a:ext uri="{FF2B5EF4-FFF2-40B4-BE49-F238E27FC236}">
                <a16:creationId xmlns:a16="http://schemas.microsoft.com/office/drawing/2014/main" id="{B152F98E-879F-0DD2-2A07-205EBCCF00FD}"/>
              </a:ext>
            </a:extLst>
          </p:cNvPr>
          <p:cNvSpPr/>
          <p:nvPr/>
        </p:nvSpPr>
        <p:spPr>
          <a:xfrm>
            <a:off x="86050" y="6633276"/>
            <a:ext cx="360000" cy="180000"/>
          </a:xfrm>
          <a:prstGeom prst="rect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F597AA3-0418-A49F-879B-D2935B56322D}"/>
              </a:ext>
            </a:extLst>
          </p:cNvPr>
          <p:cNvSpPr txBox="1"/>
          <p:nvPr/>
        </p:nvSpPr>
        <p:spPr>
          <a:xfrm>
            <a:off x="383041" y="6623854"/>
            <a:ext cx="94699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Y" sz="7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Completed on tim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83424D6-1178-0A3E-423F-D80A95F06B63}"/>
              </a:ext>
            </a:extLst>
          </p:cNvPr>
          <p:cNvSpPr/>
          <p:nvPr/>
        </p:nvSpPr>
        <p:spPr>
          <a:xfrm>
            <a:off x="2547363" y="6634173"/>
            <a:ext cx="360000" cy="180000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5AEE516-1C35-9FFF-2892-F9BA7DF1F985}"/>
              </a:ext>
            </a:extLst>
          </p:cNvPr>
          <p:cNvSpPr txBox="1"/>
          <p:nvPr/>
        </p:nvSpPr>
        <p:spPr>
          <a:xfrm>
            <a:off x="2883832" y="6614118"/>
            <a:ext cx="102275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MY" altLang="en-US"/>
              <a:t>On track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1C5D3B2-598C-78DB-CB06-6B18355115F0}"/>
              </a:ext>
            </a:extLst>
          </p:cNvPr>
          <p:cNvSpPr/>
          <p:nvPr/>
        </p:nvSpPr>
        <p:spPr>
          <a:xfrm>
            <a:off x="3389727" y="6628050"/>
            <a:ext cx="360000" cy="180000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0C89041-A970-4065-5387-A3B9DF3F8E08}"/>
              </a:ext>
            </a:extLst>
          </p:cNvPr>
          <p:cNvSpPr txBox="1"/>
          <p:nvPr/>
        </p:nvSpPr>
        <p:spPr>
          <a:xfrm>
            <a:off x="3710641" y="6614055"/>
            <a:ext cx="140188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Y" sz="7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On going but might be delayed</a:t>
            </a:r>
            <a:endParaRPr lang="en-MY" sz="100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4CA8A11-5822-3BCA-4638-2239F4AC3309}"/>
              </a:ext>
            </a:extLst>
          </p:cNvPr>
          <p:cNvSpPr/>
          <p:nvPr/>
        </p:nvSpPr>
        <p:spPr>
          <a:xfrm>
            <a:off x="1285716" y="6638795"/>
            <a:ext cx="36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C78171A-03A2-3807-6735-520426206DDA}"/>
              </a:ext>
            </a:extLst>
          </p:cNvPr>
          <p:cNvSpPr txBox="1"/>
          <p:nvPr/>
        </p:nvSpPr>
        <p:spPr>
          <a:xfrm>
            <a:off x="1589960" y="6618740"/>
            <a:ext cx="102275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MY"/>
              <a:t>Completed but delay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219CBB2A-8194-426D-0A68-C3B86A2F1D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9088472"/>
              </p:ext>
            </p:extLst>
          </p:nvPr>
        </p:nvGraphicFramePr>
        <p:xfrm>
          <a:off x="37939" y="1058696"/>
          <a:ext cx="12102952" cy="479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15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30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06741">
                  <a:extLst>
                    <a:ext uri="{9D8B030D-6E8A-4147-A177-3AD203B41FA5}">
                      <a16:colId xmlns:a16="http://schemas.microsoft.com/office/drawing/2014/main" val="543009745"/>
                    </a:ext>
                  </a:extLst>
                </a:gridCol>
                <a:gridCol w="2682986">
                  <a:extLst>
                    <a:ext uri="{9D8B030D-6E8A-4147-A177-3AD203B41FA5}">
                      <a16:colId xmlns:a16="http://schemas.microsoft.com/office/drawing/2014/main" val="2554973498"/>
                    </a:ext>
                  </a:extLst>
                </a:gridCol>
                <a:gridCol w="1635582">
                  <a:extLst>
                    <a:ext uri="{9D8B030D-6E8A-4147-A177-3AD203B41FA5}">
                      <a16:colId xmlns:a16="http://schemas.microsoft.com/office/drawing/2014/main" val="971553795"/>
                    </a:ext>
                  </a:extLst>
                </a:gridCol>
                <a:gridCol w="1635582">
                  <a:extLst>
                    <a:ext uri="{9D8B030D-6E8A-4147-A177-3AD203B41FA5}">
                      <a16:colId xmlns:a16="http://schemas.microsoft.com/office/drawing/2014/main" val="376809988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 MANAGER (TNB)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relahajaraha binti Mahamed Ramly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RT DATE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  <a:r>
                        <a:rPr lang="en-MY" sz="1100" b="0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ebruary 2022</a:t>
                      </a:r>
                      <a:endParaRPr lang="en-MY" sz="1100" b="1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D DATE:</a:t>
                      </a:r>
                      <a:endParaRPr lang="en-MY" sz="11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  <a:r>
                        <a:rPr lang="en-US" sz="1100" b="0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ctober 2023</a:t>
                      </a:r>
                      <a:endParaRPr lang="en-MY" sz="11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 MANAGER (Innotech)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eu Jue Yue</a:t>
                      </a:r>
                      <a:endParaRPr lang="en-MY" sz="1100" b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PORT DATE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en-US" sz="1100" b="1" baseline="30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d</a:t>
                      </a: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ay 2024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RACT PERIOD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years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9535B5C6-C9EB-EE46-BDC2-2CD2077A3B4F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2182070711"/>
              </p:ext>
            </p:extLst>
          </p:nvPr>
        </p:nvGraphicFramePr>
        <p:xfrm>
          <a:off x="68420" y="4058831"/>
          <a:ext cx="4992042" cy="1317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920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7650">
                <a:tc>
                  <a:txBody>
                    <a:bodyPr/>
                    <a:lstStyle/>
                    <a:p>
                      <a:pPr algn="ctr"/>
                      <a:r>
                        <a:rPr lang="en-MY" sz="1400" b="1" dirty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NGOING ACTIVITIES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7889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900" b="0" i="0" kern="1200" baseline="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pplication Status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altLang="en-US" sz="900" b="0" i="0" kern="1200" baseline="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pplication Stages Timeline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altLang="en-US" sz="900" b="0" i="0" kern="1200" baseline="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pplication Number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MY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Getting Electricity (GE) Eligibility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MY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pplication Submission (non-draft) </a:t>
                      </a: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ability Test Sign-off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ode merge between MVSC and myTNB.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MY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ug Fixing </a:t>
                      </a:r>
                    </a:p>
                  </a:txBody>
                  <a:tcPr marL="36000" marR="36000" marT="36000" marB="3600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48E2A4A-CCED-22A3-3C82-2E0A603803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10747101"/>
              </p:ext>
            </p:extLst>
          </p:nvPr>
        </p:nvGraphicFramePr>
        <p:xfrm>
          <a:off x="619716" y="1762239"/>
          <a:ext cx="1332000" cy="1534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196A04FF-36DC-FA23-E497-B9602264C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9549877"/>
              </p:ext>
            </p:extLst>
          </p:nvPr>
        </p:nvGraphicFramePr>
        <p:xfrm>
          <a:off x="602776" y="1835067"/>
          <a:ext cx="1332000" cy="1534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2DCDD323-08CB-4970-223F-1F96ED66B90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50680058"/>
              </p:ext>
            </p:extLst>
          </p:nvPr>
        </p:nvGraphicFramePr>
        <p:xfrm>
          <a:off x="3076836" y="1841396"/>
          <a:ext cx="1332000" cy="1781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E297894-3164-E422-10EA-09D76058FBD3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2138809769"/>
              </p:ext>
            </p:extLst>
          </p:nvPr>
        </p:nvGraphicFramePr>
        <p:xfrm>
          <a:off x="37939" y="5414308"/>
          <a:ext cx="5016004" cy="1088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16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3019">
                <a:tc>
                  <a:txBody>
                    <a:bodyPr/>
                    <a:lstStyle/>
                    <a:p>
                      <a:pPr algn="ctr"/>
                      <a:r>
                        <a:rPr lang="en-MY" sz="1400" b="1" dirty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PCOMING 2</a:t>
                      </a:r>
                      <a:r>
                        <a:rPr lang="en-MY" sz="1400" b="1" baseline="0" dirty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WEEKS ACTIVITIES</a:t>
                      </a:r>
                      <a:endParaRPr lang="en-MY" sz="800" b="1" dirty="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341"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o complete and sign off UI/UX design and functional design from Retail by 9</a:t>
                      </a:r>
                      <a:r>
                        <a:rPr lang="en-US" sz="800" strike="noStrike" kern="1200" baseline="300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</a:t>
                      </a: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May 2024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o complete SIT test by 10</a:t>
                      </a:r>
                      <a:r>
                        <a:rPr lang="en-US" sz="800" strike="noStrike" kern="1200" baseline="300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</a:t>
                      </a: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May 2024 (MVSC – ICPP)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o complete and sign off UI/UX design, functional design and usability test from Retail by 17</a:t>
                      </a:r>
                      <a:r>
                        <a:rPr lang="en-US" sz="800" strike="noStrike" kern="1200" baseline="300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</a:t>
                      </a: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May 2024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Get updates on myTNB AWS issue from ICT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ession with SOA and ICPP to resolve document issues on 6</a:t>
                      </a:r>
                      <a:r>
                        <a:rPr lang="en-US" sz="800" strike="noStrike" kern="1200" baseline="300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</a:t>
                      </a: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May 2024 at 11.30 am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ession with En. Hafizi on 10</a:t>
                      </a:r>
                      <a:r>
                        <a:rPr lang="en-US" sz="800" strike="noStrike" kern="1200" baseline="300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</a:t>
                      </a: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May 2024</a:t>
                      </a:r>
                    </a:p>
                  </a:txBody>
                  <a:tcPr marL="36000" marR="36000" marT="36000" marB="3600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27057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57A7E4AC-BE97-429A-BCCE-3C5DB7DF3C71}"/>
              </a:ext>
            </a:extLst>
          </p:cNvPr>
          <p:cNvSpPr txBox="1"/>
          <p:nvPr/>
        </p:nvSpPr>
        <p:spPr>
          <a:xfrm>
            <a:off x="10634377" y="154235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9" name="Content Placeholder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52109770"/>
              </p:ext>
            </p:extLst>
          </p:nvPr>
        </p:nvGraphicFramePr>
        <p:xfrm>
          <a:off x="5144348" y="1849811"/>
          <a:ext cx="7005067" cy="5002813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89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07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707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07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32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1686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92470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Y MILESTONES</a:t>
                      </a:r>
                      <a:endParaRPr lang="en-US" sz="11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LANNED START</a:t>
                      </a:r>
                      <a:endParaRPr lang="en-US" sz="11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LANNED END</a:t>
                      </a:r>
                      <a:endParaRPr lang="en-US" sz="11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UAL START</a:t>
                      </a:r>
                      <a:endParaRPr lang="en-US" sz="11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UAL END</a:t>
                      </a:r>
                      <a:endParaRPr lang="en-US" sz="11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ATUS</a:t>
                      </a:r>
                      <a:endParaRPr lang="en-US" sz="11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2809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CRM SR Number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-Oc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-Oc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5999772"/>
                  </a:ext>
                </a:extLst>
              </a:tr>
              <a:tr h="222809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CPP Work Order Number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-Jul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8-Jul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</a:t>
                      </a:r>
                      <a:endParaRPr kumimoji="0" lang="en-US" sz="1000" b="1" i="0" u="none" strike="noStrike" kern="1200" cap="all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666918"/>
                  </a:ext>
                </a:extLst>
              </a:tr>
              <a:tr h="222809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sic Information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1-Jul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1-Jul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</a:t>
                      </a:r>
                      <a:endParaRPr kumimoji="0" lang="en-US" sz="1000" b="1" i="0" u="none" strike="noStrike" kern="1200" cap="all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2017417"/>
                  </a:ext>
                </a:extLst>
              </a:tr>
              <a:tr h="346473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otification Email Recipient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-Aug-23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</a:t>
                      </a:r>
                      <a:endParaRPr kumimoji="0" lang="en-US" sz="1000" b="1" i="0" u="none" strike="noStrike" kern="1200" cap="all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0088858"/>
                  </a:ext>
                </a:extLst>
              </a:tr>
              <a:tr h="346473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chnical Document - Normal Documents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-Jul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5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-July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3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3435440"/>
                  </a:ext>
                </a:extLst>
              </a:tr>
              <a:tr h="346473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chnical Document - Other Documents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1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-July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2256918"/>
                  </a:ext>
                </a:extLst>
              </a:tr>
              <a:tr h="346473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chnical Document - Map A Digital Form 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-Sep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-Sep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-July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2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0577698"/>
                  </a:ext>
                </a:extLst>
              </a:tr>
              <a:tr h="222809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chnical Document – Others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7-Sep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-Oc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5357080"/>
                  </a:ext>
                </a:extLst>
              </a:tr>
              <a:tr h="222809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chnical Review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3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5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90070"/>
                  </a:ext>
                </a:extLst>
              </a:tr>
              <a:tr h="222809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lasan</a:t>
                      </a: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MY" altLang="en-US" sz="900" baseline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knikal</a:t>
                      </a:r>
                      <a:endParaRPr lang="en-MY" altLang="en-US" sz="900" baseline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4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1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-July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563808"/>
                  </a:ext>
                </a:extLst>
              </a:tr>
              <a:tr h="346473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Getting Electricity (GE) Qualification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-Sep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-Sep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6280030"/>
                  </a:ext>
                </a:extLst>
              </a:tr>
              <a:tr h="222809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pdate Business Area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-Sep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-Sep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273971"/>
                  </a:ext>
                </a:extLst>
              </a:tr>
              <a:tr h="222809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ubmit Site Progress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-Jul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MY" alt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-July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</a:t>
                      </a:r>
                      <a:endParaRPr kumimoji="0" lang="en-US" sz="1000" b="1" i="0" u="none" strike="noStrike" kern="1200" cap="all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1030756"/>
                  </a:ext>
                </a:extLst>
              </a:tr>
              <a:tr h="222809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upply Required Date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-Sep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MY" alt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-Sep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</a:t>
                      </a:r>
                      <a:endParaRPr kumimoji="0" lang="en-US" sz="1000" b="1" i="0" u="none" strike="noStrike" kern="1200" cap="all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6335566"/>
                  </a:ext>
                </a:extLst>
              </a:tr>
              <a:tr h="276482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ppointment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-Sep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-Oct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1-Sept-23</a:t>
                      </a:r>
                    </a:p>
                    <a:p>
                      <a:pPr algn="ctr" fontAlgn="b"/>
                      <a:endParaRPr lang="en-MY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5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8061346"/>
                  </a:ext>
                </a:extLst>
              </a:tr>
              <a:tr h="222809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MY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onnection Charges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4-Sep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-Oc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</a:t>
                      </a:r>
                    </a:p>
                  </a:txBody>
                  <a:tcPr marL="42679" marR="42679" marT="42679" marB="42679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8514284"/>
                  </a:ext>
                </a:extLst>
              </a:tr>
            </a:tbl>
          </a:graphicData>
        </a:graphic>
      </p:graphicFrame>
      <p:sp>
        <p:nvSpPr>
          <p:cNvPr id="7" name="Chevron 6">
            <a:extLst>
              <a:ext uri="{FF2B5EF4-FFF2-40B4-BE49-F238E27FC236}">
                <a16:creationId xmlns:a16="http://schemas.microsoft.com/office/drawing/2014/main" id="{9CC5804A-24DB-3C89-5E18-6BBB64078CDF}"/>
              </a:ext>
            </a:extLst>
          </p:cNvPr>
          <p:cNvSpPr/>
          <p:nvPr/>
        </p:nvSpPr>
        <p:spPr>
          <a:xfrm>
            <a:off x="10925015" y="1609847"/>
            <a:ext cx="1080000" cy="230061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INING &amp; CLOSE</a:t>
            </a:r>
          </a:p>
        </p:txBody>
      </p:sp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AA097E5C-F62F-235B-08D8-C68096535D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84884" y="114006"/>
            <a:ext cx="1520131" cy="770200"/>
          </a:xfrm>
          <a:prstGeom prst="rect">
            <a:avLst/>
          </a:prstGeom>
        </p:spPr>
      </p:pic>
      <p:sp>
        <p:nvSpPr>
          <p:cNvPr id="14" name="Snip Diagonal Corner of Rectangle 13">
            <a:extLst>
              <a:ext uri="{FF2B5EF4-FFF2-40B4-BE49-F238E27FC236}">
                <a16:creationId xmlns:a16="http://schemas.microsoft.com/office/drawing/2014/main" id="{F7E70A08-7693-91EA-BFFA-2B6172F22F4E}"/>
              </a:ext>
            </a:extLst>
          </p:cNvPr>
          <p:cNvSpPr/>
          <p:nvPr/>
        </p:nvSpPr>
        <p:spPr>
          <a:xfrm>
            <a:off x="186986" y="114007"/>
            <a:ext cx="6442414" cy="770199"/>
          </a:xfrm>
          <a:prstGeom prst="snip2DiagRect">
            <a:avLst>
              <a:gd name="adj1" fmla="val 0"/>
              <a:gd name="adj2" fmla="val 21983"/>
            </a:avLst>
          </a:prstGeom>
          <a:solidFill>
            <a:srgbClr val="2F5597"/>
          </a:solidFill>
          <a:ln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1600" b="1" u="sng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dium Voltage Supply Connection in </a:t>
            </a:r>
            <a:r>
              <a:rPr lang="en-US" sz="1600" b="1" u="sng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ergySense</a:t>
            </a:r>
            <a:r>
              <a:rPr lang="en-US" sz="1600" b="1" u="sng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MVSC)</a:t>
            </a:r>
          </a:p>
          <a:p>
            <a:pPr>
              <a:lnSpc>
                <a:spcPct val="150000"/>
              </a:lnSpc>
            </a:pPr>
            <a:r>
              <a:rPr lang="en-US" sz="14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JECT STATUS SUMMARY</a:t>
            </a:r>
            <a:endParaRPr lang="en-US" sz="1400" i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Snip Diagonal Corner of Rectangle 14">
            <a:extLst>
              <a:ext uri="{FF2B5EF4-FFF2-40B4-BE49-F238E27FC236}">
                <a16:creationId xmlns:a16="http://schemas.microsoft.com/office/drawing/2014/main" id="{6F4CF87C-5917-D15A-D3AB-DA1323E7D5AB}"/>
              </a:ext>
            </a:extLst>
          </p:cNvPr>
          <p:cNvSpPr/>
          <p:nvPr/>
        </p:nvSpPr>
        <p:spPr>
          <a:xfrm>
            <a:off x="37940" y="25062"/>
            <a:ext cx="12116120" cy="957578"/>
          </a:xfrm>
          <a:prstGeom prst="snip2DiagRect">
            <a:avLst/>
          </a:prstGeom>
          <a:noFill/>
          <a:ln w="28575"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6F07A618-F4E7-6FB4-D9E0-98290CE6D817}"/>
              </a:ext>
            </a:extLst>
          </p:cNvPr>
          <p:cNvGraphicFramePr>
            <a:graphicFrameLocks noGrp="1"/>
          </p:cNvGraphicFramePr>
          <p:nvPr/>
        </p:nvGraphicFramePr>
        <p:xfrm>
          <a:off x="37940" y="1553341"/>
          <a:ext cx="5053002" cy="189906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526501">
                  <a:extLst>
                    <a:ext uri="{9D8B030D-6E8A-4147-A177-3AD203B41FA5}">
                      <a16:colId xmlns:a16="http://schemas.microsoft.com/office/drawing/2014/main" val="1349750499"/>
                    </a:ext>
                  </a:extLst>
                </a:gridCol>
                <a:gridCol w="2526501">
                  <a:extLst>
                    <a:ext uri="{9D8B030D-6E8A-4147-A177-3AD203B41FA5}">
                      <a16:colId xmlns:a16="http://schemas.microsoft.com/office/drawing/2014/main" val="976763585"/>
                    </a:ext>
                  </a:extLst>
                </a:gridCol>
              </a:tblGrid>
              <a:tr h="304723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OJECT PROGRESS</a:t>
                      </a:r>
                    </a:p>
                  </a:txBody>
                  <a:tcPr marL="81303" marR="81303" marT="40653" marB="40653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9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ned Start</a:t>
                      </a:r>
                      <a:endParaRPr lang="en-US" sz="9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303" marR="81303" marT="40653" marB="40653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465583"/>
                  </a:ext>
                </a:extLst>
              </a:tr>
              <a:tr h="263676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MY" altLang="en-US" sz="1400" b="1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ual %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4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lanned %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5310658"/>
                  </a:ext>
                </a:extLst>
              </a:tr>
              <a:tr h="1167010">
                <a:tc>
                  <a:txBody>
                    <a:bodyPr/>
                    <a:lstStyle/>
                    <a:p>
                      <a:pPr algn="ctr"/>
                      <a:endParaRPr lang="en-MY" altLang="en-US" sz="10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461218"/>
                  </a:ext>
                </a:extLst>
              </a:tr>
            </a:tbl>
          </a:graphicData>
        </a:graphic>
      </p:graphicFrame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0D0CC569-A6A3-BA90-C2E4-C55DE689FC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05659" y="100341"/>
            <a:ext cx="730181" cy="710915"/>
          </a:xfrm>
          <a:prstGeom prst="rect">
            <a:avLst/>
          </a:prstGeom>
        </p:spPr>
      </p:pic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9C81DA95-7BBF-2D63-C584-DB9BCC5F178A}"/>
              </a:ext>
            </a:extLst>
          </p:cNvPr>
          <p:cNvGraphicFramePr/>
          <p:nvPr/>
        </p:nvGraphicFramePr>
        <p:xfrm>
          <a:off x="3137099" y="1988797"/>
          <a:ext cx="1182088" cy="13280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7" name="Chevron 26">
            <a:extLst>
              <a:ext uri="{FF2B5EF4-FFF2-40B4-BE49-F238E27FC236}">
                <a16:creationId xmlns:a16="http://schemas.microsoft.com/office/drawing/2014/main" id="{E3D24B18-DAAC-DDAB-1499-6AE30C80C765}"/>
              </a:ext>
            </a:extLst>
          </p:cNvPr>
          <p:cNvSpPr/>
          <p:nvPr/>
        </p:nvSpPr>
        <p:spPr>
          <a:xfrm>
            <a:off x="8907514" y="1606639"/>
            <a:ext cx="1080000" cy="230061"/>
          </a:xfrm>
          <a:prstGeom prst="chevron">
            <a:avLst/>
          </a:prstGeom>
          <a:solidFill>
            <a:schemeClr val="accent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8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ILD</a:t>
            </a:r>
          </a:p>
        </p:txBody>
      </p:sp>
      <p:sp>
        <p:nvSpPr>
          <p:cNvPr id="28" name="Chevron 27">
            <a:extLst>
              <a:ext uri="{FF2B5EF4-FFF2-40B4-BE49-F238E27FC236}">
                <a16:creationId xmlns:a16="http://schemas.microsoft.com/office/drawing/2014/main" id="{EF5B0C4A-6D86-C694-8C4E-2C8F1A362517}"/>
              </a:ext>
            </a:extLst>
          </p:cNvPr>
          <p:cNvSpPr/>
          <p:nvPr/>
        </p:nvSpPr>
        <p:spPr>
          <a:xfrm>
            <a:off x="7970013" y="1606639"/>
            <a:ext cx="1008000" cy="230061"/>
          </a:xfrm>
          <a:prstGeom prst="chevron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ALYSE &amp; DESIGN</a:t>
            </a:r>
          </a:p>
        </p:txBody>
      </p:sp>
      <p:sp>
        <p:nvSpPr>
          <p:cNvPr id="29" name="Chevron 28">
            <a:extLst>
              <a:ext uri="{FF2B5EF4-FFF2-40B4-BE49-F238E27FC236}">
                <a16:creationId xmlns:a16="http://schemas.microsoft.com/office/drawing/2014/main" id="{EA2545F5-3CF3-26BA-E9E9-33557908304C}"/>
              </a:ext>
            </a:extLst>
          </p:cNvPr>
          <p:cNvSpPr/>
          <p:nvPr/>
        </p:nvSpPr>
        <p:spPr>
          <a:xfrm>
            <a:off x="6966536" y="1614707"/>
            <a:ext cx="1080000" cy="230061"/>
          </a:xfrm>
          <a:prstGeom prst="chevron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8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LANNING</a:t>
            </a:r>
          </a:p>
        </p:txBody>
      </p:sp>
      <p:sp>
        <p:nvSpPr>
          <p:cNvPr id="30" name="Chevron 29">
            <a:extLst>
              <a:ext uri="{FF2B5EF4-FFF2-40B4-BE49-F238E27FC236}">
                <a16:creationId xmlns:a16="http://schemas.microsoft.com/office/drawing/2014/main" id="{FC8ED96A-F67F-2D3A-6539-14217201C84F}"/>
              </a:ext>
            </a:extLst>
          </p:cNvPr>
          <p:cNvSpPr/>
          <p:nvPr/>
        </p:nvSpPr>
        <p:spPr>
          <a:xfrm>
            <a:off x="5951920" y="1611682"/>
            <a:ext cx="1080000" cy="230061"/>
          </a:xfrm>
          <a:prstGeom prst="chevron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8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ITIATION</a:t>
            </a:r>
          </a:p>
        </p:txBody>
      </p:sp>
      <p:sp>
        <p:nvSpPr>
          <p:cNvPr id="31" name="Chevron 30">
            <a:extLst>
              <a:ext uri="{FF2B5EF4-FFF2-40B4-BE49-F238E27FC236}">
                <a16:creationId xmlns:a16="http://schemas.microsoft.com/office/drawing/2014/main" id="{B09C3877-4D3E-FE44-FA95-3B944689A57E}"/>
              </a:ext>
            </a:extLst>
          </p:cNvPr>
          <p:cNvSpPr/>
          <p:nvPr/>
        </p:nvSpPr>
        <p:spPr>
          <a:xfrm>
            <a:off x="9916025" y="1605435"/>
            <a:ext cx="1080000" cy="230061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INING &amp; CLOSE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06447FD0-C2AF-6F40-A7D2-292926AC99F0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453629727"/>
              </p:ext>
            </p:extLst>
          </p:nvPr>
        </p:nvGraphicFramePr>
        <p:xfrm>
          <a:off x="37939" y="3042735"/>
          <a:ext cx="5016004" cy="2079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16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39171">
                <a:tc>
                  <a:txBody>
                    <a:bodyPr/>
                    <a:lstStyle/>
                    <a:p>
                      <a:pPr algn="ctr"/>
                      <a:r>
                        <a:rPr lang="en-MY" sz="120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HIEVEMENTS</a:t>
                      </a:r>
                      <a:r>
                        <a:rPr lang="en-MY" sz="1200" baseline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/ KEY HIGHLIGHTS</a:t>
                      </a:r>
                      <a:endParaRPr lang="en-MY" sz="120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96279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MY" altLang="en-US" sz="8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CPP Work Order Number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altLang="en-US" sz="800" b="0" i="0" kern="1200" baseline="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sic Information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MY" altLang="en-US" sz="8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otification Email Recipient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MY" altLang="en-US" sz="8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ubmit Site Progres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MY" altLang="en-US" sz="8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upply Required Date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MY" altLang="en-US" sz="8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onnection Charge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MY" altLang="en-US" sz="800" baseline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MY" altLang="en-US" sz="800" baseline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altLang="en-US" sz="800" b="0" i="0" kern="1200" baseline="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altLang="en-US" sz="800" b="0" i="0" kern="1200" baseline="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altLang="en-US" sz="800" b="0" i="0" kern="1200" baseline="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altLang="en-US" sz="900" b="0" i="0" kern="1200" baseline="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MY" altLang="en-US" sz="900" baseline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altLang="en-US" sz="900" b="0" i="0" kern="1200" baseline="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3" name="Rectangle 32">
            <a:extLst>
              <a:ext uri="{FF2B5EF4-FFF2-40B4-BE49-F238E27FC236}">
                <a16:creationId xmlns:a16="http://schemas.microsoft.com/office/drawing/2014/main" id="{B152F98E-879F-0DD2-2A07-205EBCCF00FD}"/>
              </a:ext>
            </a:extLst>
          </p:cNvPr>
          <p:cNvSpPr/>
          <p:nvPr/>
        </p:nvSpPr>
        <p:spPr>
          <a:xfrm>
            <a:off x="64466" y="6553360"/>
            <a:ext cx="360000" cy="180000"/>
          </a:xfrm>
          <a:prstGeom prst="rect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F597AA3-0418-A49F-879B-D2935B56322D}"/>
              </a:ext>
            </a:extLst>
          </p:cNvPr>
          <p:cNvSpPr txBox="1"/>
          <p:nvPr/>
        </p:nvSpPr>
        <p:spPr>
          <a:xfrm>
            <a:off x="361457" y="6543938"/>
            <a:ext cx="94699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Y" sz="7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Completed on tim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83424D6-1178-0A3E-423F-D80A95F06B63}"/>
              </a:ext>
            </a:extLst>
          </p:cNvPr>
          <p:cNvSpPr/>
          <p:nvPr/>
        </p:nvSpPr>
        <p:spPr>
          <a:xfrm>
            <a:off x="2525779" y="6554257"/>
            <a:ext cx="360000" cy="180000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5AEE516-1C35-9FFF-2892-F9BA7DF1F985}"/>
              </a:ext>
            </a:extLst>
          </p:cNvPr>
          <p:cNvSpPr txBox="1"/>
          <p:nvPr/>
        </p:nvSpPr>
        <p:spPr>
          <a:xfrm>
            <a:off x="2862248" y="6534202"/>
            <a:ext cx="102275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MY" altLang="en-US"/>
              <a:t>On track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1C5D3B2-598C-78DB-CB06-6B18355115F0}"/>
              </a:ext>
            </a:extLst>
          </p:cNvPr>
          <p:cNvSpPr/>
          <p:nvPr/>
        </p:nvSpPr>
        <p:spPr>
          <a:xfrm>
            <a:off x="3368143" y="6548134"/>
            <a:ext cx="360000" cy="180000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0C89041-A970-4065-5387-A3B9DF3F8E08}"/>
              </a:ext>
            </a:extLst>
          </p:cNvPr>
          <p:cNvSpPr txBox="1"/>
          <p:nvPr/>
        </p:nvSpPr>
        <p:spPr>
          <a:xfrm>
            <a:off x="3689057" y="6534139"/>
            <a:ext cx="140188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Y" sz="7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On going but might be delayed</a:t>
            </a:r>
            <a:endParaRPr lang="en-MY" sz="100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4CA8A11-5822-3BCA-4638-2239F4AC3309}"/>
              </a:ext>
            </a:extLst>
          </p:cNvPr>
          <p:cNvSpPr/>
          <p:nvPr/>
        </p:nvSpPr>
        <p:spPr>
          <a:xfrm>
            <a:off x="1264132" y="6558879"/>
            <a:ext cx="36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C78171A-03A2-3807-6735-520426206DDA}"/>
              </a:ext>
            </a:extLst>
          </p:cNvPr>
          <p:cNvSpPr txBox="1"/>
          <p:nvPr/>
        </p:nvSpPr>
        <p:spPr>
          <a:xfrm>
            <a:off x="1568376" y="6538824"/>
            <a:ext cx="102275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MY"/>
              <a:t>Completed but delay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219CBB2A-8194-426D-0A68-C3B86A2F1D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2683177"/>
              </p:ext>
            </p:extLst>
          </p:nvPr>
        </p:nvGraphicFramePr>
        <p:xfrm>
          <a:off x="37939" y="1058696"/>
          <a:ext cx="12102952" cy="479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15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30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06741">
                  <a:extLst>
                    <a:ext uri="{9D8B030D-6E8A-4147-A177-3AD203B41FA5}">
                      <a16:colId xmlns:a16="http://schemas.microsoft.com/office/drawing/2014/main" val="543009745"/>
                    </a:ext>
                  </a:extLst>
                </a:gridCol>
                <a:gridCol w="2682986">
                  <a:extLst>
                    <a:ext uri="{9D8B030D-6E8A-4147-A177-3AD203B41FA5}">
                      <a16:colId xmlns:a16="http://schemas.microsoft.com/office/drawing/2014/main" val="2554973498"/>
                    </a:ext>
                  </a:extLst>
                </a:gridCol>
                <a:gridCol w="1635582">
                  <a:extLst>
                    <a:ext uri="{9D8B030D-6E8A-4147-A177-3AD203B41FA5}">
                      <a16:colId xmlns:a16="http://schemas.microsoft.com/office/drawing/2014/main" val="971553795"/>
                    </a:ext>
                  </a:extLst>
                </a:gridCol>
                <a:gridCol w="1635582">
                  <a:extLst>
                    <a:ext uri="{9D8B030D-6E8A-4147-A177-3AD203B41FA5}">
                      <a16:colId xmlns:a16="http://schemas.microsoft.com/office/drawing/2014/main" val="376809988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 MANAGER (TNB)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relahajaraha binti Mahamed Ramly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RT DATE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  <a:r>
                        <a:rPr lang="en-MY" sz="1100" b="0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ebruary 2022</a:t>
                      </a:r>
                      <a:endParaRPr lang="en-MY" sz="1100" b="1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D DATE:</a:t>
                      </a:r>
                      <a:endParaRPr lang="en-MY" sz="11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  <a:r>
                        <a:rPr lang="en-US" sz="1100" b="0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ctober 2023</a:t>
                      </a:r>
                      <a:endParaRPr lang="en-MY" sz="11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 MANAGER (Innotech)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eu Jue Yue</a:t>
                      </a:r>
                      <a:endParaRPr lang="en-MY" sz="1100" b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MY" sz="105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PORT DATE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en-US" sz="1100" b="1" baseline="30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d</a:t>
                      </a: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ay 2024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RACT PERIOD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years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9535B5C6-C9EB-EE46-BDC2-2CD2077A3B4F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3826511555"/>
              </p:ext>
            </p:extLst>
          </p:nvPr>
        </p:nvGraphicFramePr>
        <p:xfrm>
          <a:off x="37938" y="4097855"/>
          <a:ext cx="5016004" cy="12988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16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0840">
                <a:tc>
                  <a:txBody>
                    <a:bodyPr/>
                    <a:lstStyle/>
                    <a:p>
                      <a:pPr algn="ctr"/>
                      <a:r>
                        <a:rPr lang="en-MY" sz="1200" b="1" dirty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NGOING ACTIVITIES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43935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800" b="0" i="0" kern="1200" baseline="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ssigning requirement/task for developer.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MY" altLang="en-US" sz="8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CRM SR Number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800" b="0" i="0" kern="1200" baseline="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sic Information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altLang="en-US" sz="800" b="0" i="0" kern="1200" baseline="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chnical Document - Normal Document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altLang="en-US" sz="800" b="0" i="0" kern="1200" baseline="0" dirty="0" err="1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lasan</a:t>
                      </a:r>
                      <a:r>
                        <a:rPr lang="en-GB" altLang="en-US" sz="800" b="0" i="0" kern="1200" baseline="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GB" altLang="en-US" sz="800" b="0" i="0" kern="1200" baseline="0" dirty="0" err="1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knikal</a:t>
                      </a:r>
                      <a:endParaRPr lang="en-GB" altLang="en-US" sz="800" b="0" i="0" kern="1200" baseline="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800" b="0" i="0" kern="1200" baseline="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ode merge between MVSC and </a:t>
                      </a:r>
                      <a:r>
                        <a:rPr lang="en-US" altLang="en-US" sz="800" b="0" i="0" kern="1200" baseline="0" dirty="0" err="1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yTNB</a:t>
                      </a:r>
                      <a:r>
                        <a:rPr lang="en-US" altLang="en-US" sz="800" b="0" i="0" kern="1200" baseline="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800" b="0" i="0" kern="1200" baseline="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ug Fixing </a:t>
                      </a:r>
                    </a:p>
                  </a:txBody>
                  <a:tcPr marL="36000" marR="36000" marT="36000" marB="3600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2B0BA95F-EDC9-B638-B029-4DBB1999BD74}"/>
              </a:ext>
            </a:extLst>
          </p:cNvPr>
          <p:cNvGraphicFramePr/>
          <p:nvPr/>
        </p:nvGraphicFramePr>
        <p:xfrm>
          <a:off x="549001" y="1988797"/>
          <a:ext cx="1430262" cy="113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A2A5E843-6DE7-914E-ADFE-4E00ED4A38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15036014"/>
              </p:ext>
            </p:extLst>
          </p:nvPr>
        </p:nvGraphicFramePr>
        <p:xfrm>
          <a:off x="560181" y="1916499"/>
          <a:ext cx="1332000" cy="11841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E02A72E9-7578-9BDF-321C-8E106D8C66C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97225424"/>
              </p:ext>
            </p:extLst>
          </p:nvPr>
        </p:nvGraphicFramePr>
        <p:xfrm>
          <a:off x="3079322" y="2021785"/>
          <a:ext cx="1332000" cy="1214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D7B8B07-65E7-56A8-9B2A-6BC7AE3E949A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1214104676"/>
              </p:ext>
            </p:extLst>
          </p:nvPr>
        </p:nvGraphicFramePr>
        <p:xfrm>
          <a:off x="37938" y="5427816"/>
          <a:ext cx="5016004" cy="1088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16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3019">
                <a:tc>
                  <a:txBody>
                    <a:bodyPr/>
                    <a:lstStyle/>
                    <a:p>
                      <a:pPr algn="ctr"/>
                      <a:r>
                        <a:rPr lang="en-MY" sz="1400" b="1" dirty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PCOMING 2</a:t>
                      </a:r>
                      <a:r>
                        <a:rPr lang="en-MY" sz="1400" b="1" baseline="0" dirty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WEEKS ACTIVITIES</a:t>
                      </a:r>
                      <a:endParaRPr lang="en-MY" sz="800" b="1" dirty="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341"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o complete and sign off UI/UX design and functional design from Retail by 9</a:t>
                      </a:r>
                      <a:r>
                        <a:rPr lang="en-US" sz="800" strike="noStrike" kern="1200" baseline="300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</a:t>
                      </a: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May 2024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o complete SIT test by 10</a:t>
                      </a:r>
                      <a:r>
                        <a:rPr lang="en-US" sz="800" strike="noStrike" kern="1200" baseline="300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</a:t>
                      </a: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May 2024 (MVSC – ICPP)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o complete and sign off UI/UX design, functional design and usability test from Retail by 17</a:t>
                      </a:r>
                      <a:r>
                        <a:rPr lang="en-US" sz="800" strike="noStrike" kern="1200" baseline="300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</a:t>
                      </a: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May 2024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Get updates on myTNB AWS issue from ICT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ession with SOA and ICPP to resolve document issues on 6</a:t>
                      </a:r>
                      <a:r>
                        <a:rPr lang="en-US" sz="800" strike="noStrike" kern="1200" baseline="300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</a:t>
                      </a: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May 2024 at 11.30 am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ession with En. Hafizi on 10</a:t>
                      </a:r>
                      <a:r>
                        <a:rPr lang="en-US" sz="800" strike="noStrike" kern="1200" baseline="300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</a:t>
                      </a: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May 2024</a:t>
                      </a:r>
                    </a:p>
                  </a:txBody>
                  <a:tcPr marL="36000" marR="36000" marT="36000" marB="3600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27092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57A7E4AC-BE97-429A-BCCE-3C5DB7DF3C71}"/>
              </a:ext>
            </a:extLst>
          </p:cNvPr>
          <p:cNvSpPr txBox="1"/>
          <p:nvPr/>
        </p:nvSpPr>
        <p:spPr>
          <a:xfrm>
            <a:off x="10634377" y="154235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9" name="Content Placeholder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8395781"/>
              </p:ext>
            </p:extLst>
          </p:nvPr>
        </p:nvGraphicFramePr>
        <p:xfrm>
          <a:off x="5163451" y="1948382"/>
          <a:ext cx="6830682" cy="399889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016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733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440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440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440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0869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39112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Y MILESTONES</a:t>
                      </a:r>
                      <a:endParaRPr lang="en-US" sz="11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LANNED START</a:t>
                      </a:r>
                      <a:endParaRPr lang="en-US" sz="11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LANNED END</a:t>
                      </a:r>
                      <a:endParaRPr lang="en-US" sz="1100" b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UAL START</a:t>
                      </a:r>
                      <a:endParaRPr lang="en-US" sz="11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UAL END</a:t>
                      </a:r>
                      <a:endParaRPr lang="en-US" sz="11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ATUS</a:t>
                      </a:r>
                      <a:endParaRPr lang="en-US" sz="11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6368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chnically Complete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-Jul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US" sz="1000" b="1" cap="all" baseline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5999772"/>
                  </a:ext>
                </a:extLst>
              </a:tr>
              <a:tr h="326012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en-US" sz="900" baseline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yTNB</a:t>
                      </a:r>
                      <a:r>
                        <a:rPr lang="en-US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Dynatrace integration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5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US" sz="1000" b="1" cap="all" baseline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666918"/>
                  </a:ext>
                </a:extLst>
              </a:tr>
              <a:tr h="326012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en-US" sz="900" baseline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nergySense</a:t>
                      </a:r>
                      <a:endParaRPr lang="en-US" altLang="en-US" sz="900" baseline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-Sp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-Aug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000" b="1" cap="all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</a:t>
                      </a:r>
                    </a:p>
                  </a:txBody>
                  <a:tcPr marL="42679" marR="42679" marT="42679" marB="42679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2017417"/>
                  </a:ext>
                </a:extLst>
              </a:tr>
              <a:tr h="326012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verall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-Sep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-Oct-23</a:t>
                      </a: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US" sz="1000" b="1" cap="all" baseline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0088858"/>
                  </a:ext>
                </a:extLst>
              </a:tr>
              <a:tr h="471703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ability Testing for myTNB Portal</a:t>
                      </a:r>
                      <a:endParaRPr lang="en-MY" altLang="en-US" sz="900" baseline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3-Oct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-May-24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-Aug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000" b="1" cap="all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0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3435440"/>
                  </a:ext>
                </a:extLst>
              </a:tr>
              <a:tr h="29095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Code merge between MVSC and    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yTNB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-Nov-23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-Nov-24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9525" marR="9525" marT="9525" marB="0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6187637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ystem Integration Test (SIT) MVSC with ICPP</a:t>
                      </a:r>
                      <a:endParaRPr lang="en-MY" altLang="en-US" sz="900" baseline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5.-Mar-24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-May-24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MY" alt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5-Mar-24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000" b="1" cap="all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0%</a:t>
                      </a:r>
                    </a:p>
                  </a:txBody>
                  <a:tcPr marL="42679" marR="42679" marT="42679" marB="42679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2256918"/>
                  </a:ext>
                </a:extLst>
              </a:tr>
              <a:tr h="2731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Final System Integration Test (SIT)</a:t>
                      </a:r>
                      <a:endParaRPr lang="en-MY" altLang="en-US" sz="900" baseline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9-Apr-24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4-May-24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US" sz="1000" b="1" cap="all" baseline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703478"/>
                  </a:ext>
                </a:extLst>
              </a:tr>
              <a:tr h="326012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Final User Acceptance Test (UAT)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7-May-24</a:t>
                      </a:r>
                      <a:endParaRPr 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4-June-24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US" sz="1000" b="1" cap="all" baseline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5536843"/>
                  </a:ext>
                </a:extLst>
              </a:tr>
              <a:tr h="421314">
                <a:tc>
                  <a:txBody>
                    <a:bodyPr/>
                    <a:lstStyle/>
                    <a:p>
                      <a:pPr algn="l">
                        <a:lnSpc>
                          <a:spcPct val="110000"/>
                        </a:lnSpc>
                      </a:pPr>
                      <a:r>
                        <a:rPr lang="en-US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ployment to Production Environment &amp; Go Live</a:t>
                      </a:r>
                      <a:endParaRPr lang="en-MY" altLang="en-US" sz="900" baseline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7-June-24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1-August-24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MY" altLang="en-US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US" sz="1000" b="1" cap="all" baseline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679" marR="42679" marT="42679" marB="426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2979802"/>
                  </a:ext>
                </a:extLst>
              </a:tr>
            </a:tbl>
          </a:graphicData>
        </a:graphic>
      </p:graphicFrame>
      <p:sp>
        <p:nvSpPr>
          <p:cNvPr id="7" name="Chevron 6">
            <a:extLst>
              <a:ext uri="{FF2B5EF4-FFF2-40B4-BE49-F238E27FC236}">
                <a16:creationId xmlns:a16="http://schemas.microsoft.com/office/drawing/2014/main" id="{9CC5804A-24DB-3C89-5E18-6BBB64078CDF}"/>
              </a:ext>
            </a:extLst>
          </p:cNvPr>
          <p:cNvSpPr/>
          <p:nvPr/>
        </p:nvSpPr>
        <p:spPr>
          <a:xfrm>
            <a:off x="10840327" y="1417332"/>
            <a:ext cx="1080000" cy="230061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INING &amp; CLOSE</a:t>
            </a:r>
          </a:p>
        </p:txBody>
      </p:sp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AA097E5C-F62F-235B-08D8-C68096535D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84884" y="114006"/>
            <a:ext cx="1520131" cy="770200"/>
          </a:xfrm>
          <a:prstGeom prst="rect">
            <a:avLst/>
          </a:prstGeom>
        </p:spPr>
      </p:pic>
      <p:sp>
        <p:nvSpPr>
          <p:cNvPr id="14" name="Snip Diagonal Corner of Rectangle 13">
            <a:extLst>
              <a:ext uri="{FF2B5EF4-FFF2-40B4-BE49-F238E27FC236}">
                <a16:creationId xmlns:a16="http://schemas.microsoft.com/office/drawing/2014/main" id="{F7E70A08-7693-91EA-BFFA-2B6172F22F4E}"/>
              </a:ext>
            </a:extLst>
          </p:cNvPr>
          <p:cNvSpPr/>
          <p:nvPr/>
        </p:nvSpPr>
        <p:spPr>
          <a:xfrm>
            <a:off x="186986" y="114007"/>
            <a:ext cx="6442414" cy="770199"/>
          </a:xfrm>
          <a:prstGeom prst="snip2DiagRect">
            <a:avLst>
              <a:gd name="adj1" fmla="val 0"/>
              <a:gd name="adj2" fmla="val 21983"/>
            </a:avLst>
          </a:prstGeom>
          <a:solidFill>
            <a:srgbClr val="2F5597"/>
          </a:solidFill>
          <a:ln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1600" b="1" u="sng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dium Voltage Supply Connection in </a:t>
            </a:r>
            <a:r>
              <a:rPr lang="en-US" sz="1600" b="1" u="sng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ergySense</a:t>
            </a:r>
            <a:r>
              <a:rPr lang="en-US" sz="1600" b="1" u="sng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MVSC)</a:t>
            </a:r>
          </a:p>
          <a:p>
            <a:pPr>
              <a:lnSpc>
                <a:spcPct val="150000"/>
              </a:lnSpc>
            </a:pPr>
            <a:r>
              <a:rPr lang="en-US" sz="14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JECT STATUS SUMMARY</a:t>
            </a:r>
            <a:endParaRPr lang="en-US" sz="1400" i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Snip Diagonal Corner of Rectangle 14">
            <a:extLst>
              <a:ext uri="{FF2B5EF4-FFF2-40B4-BE49-F238E27FC236}">
                <a16:creationId xmlns:a16="http://schemas.microsoft.com/office/drawing/2014/main" id="{6F4CF87C-5917-D15A-D3AB-DA1323E7D5AB}"/>
              </a:ext>
            </a:extLst>
          </p:cNvPr>
          <p:cNvSpPr/>
          <p:nvPr/>
        </p:nvSpPr>
        <p:spPr>
          <a:xfrm>
            <a:off x="37940" y="25062"/>
            <a:ext cx="12116120" cy="957578"/>
          </a:xfrm>
          <a:prstGeom prst="snip2DiagRect">
            <a:avLst/>
          </a:prstGeom>
          <a:noFill/>
          <a:ln w="28575"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6F07A618-F4E7-6FB4-D9E0-98290CE6D8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219247"/>
              </p:ext>
            </p:extLst>
          </p:nvPr>
        </p:nvGraphicFramePr>
        <p:xfrm>
          <a:off x="34091" y="1405267"/>
          <a:ext cx="5053002" cy="189906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526501">
                  <a:extLst>
                    <a:ext uri="{9D8B030D-6E8A-4147-A177-3AD203B41FA5}">
                      <a16:colId xmlns:a16="http://schemas.microsoft.com/office/drawing/2014/main" val="1349750499"/>
                    </a:ext>
                  </a:extLst>
                </a:gridCol>
                <a:gridCol w="2526501">
                  <a:extLst>
                    <a:ext uri="{9D8B030D-6E8A-4147-A177-3AD203B41FA5}">
                      <a16:colId xmlns:a16="http://schemas.microsoft.com/office/drawing/2014/main" val="976763585"/>
                    </a:ext>
                  </a:extLst>
                </a:gridCol>
              </a:tblGrid>
              <a:tr h="304723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OJECT PROGRESS</a:t>
                      </a:r>
                    </a:p>
                  </a:txBody>
                  <a:tcPr marL="81303" marR="81303" marT="40653" marB="40653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9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ned Start</a:t>
                      </a:r>
                      <a:endParaRPr lang="en-US" sz="9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303" marR="81303" marT="40653" marB="40653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465583"/>
                  </a:ext>
                </a:extLst>
              </a:tr>
              <a:tr h="263676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MY" altLang="en-US" sz="1400" b="1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ual %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4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lanned %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5310658"/>
                  </a:ext>
                </a:extLst>
              </a:tr>
              <a:tr h="1167010">
                <a:tc>
                  <a:txBody>
                    <a:bodyPr/>
                    <a:lstStyle/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en-MY" altLang="en-US" sz="10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461218"/>
                  </a:ext>
                </a:extLst>
              </a:tr>
            </a:tbl>
          </a:graphicData>
        </a:graphic>
      </p:graphicFrame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0D0CC569-A6A3-BA90-C2E4-C55DE689FC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05659" y="100341"/>
            <a:ext cx="730181" cy="710915"/>
          </a:xfrm>
          <a:prstGeom prst="rect">
            <a:avLst/>
          </a:prstGeom>
        </p:spPr>
      </p:pic>
      <p:sp>
        <p:nvSpPr>
          <p:cNvPr id="27" name="Chevron 26">
            <a:extLst>
              <a:ext uri="{FF2B5EF4-FFF2-40B4-BE49-F238E27FC236}">
                <a16:creationId xmlns:a16="http://schemas.microsoft.com/office/drawing/2014/main" id="{E3D24B18-DAAC-DDAB-1499-6AE30C80C765}"/>
              </a:ext>
            </a:extLst>
          </p:cNvPr>
          <p:cNvSpPr/>
          <p:nvPr/>
        </p:nvSpPr>
        <p:spPr>
          <a:xfrm>
            <a:off x="8822826" y="1414124"/>
            <a:ext cx="1080000" cy="230061"/>
          </a:xfrm>
          <a:prstGeom prst="chevron">
            <a:avLst/>
          </a:prstGeom>
          <a:solidFill>
            <a:schemeClr val="accent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8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ILD</a:t>
            </a:r>
          </a:p>
        </p:txBody>
      </p:sp>
      <p:sp>
        <p:nvSpPr>
          <p:cNvPr id="28" name="Chevron 27">
            <a:extLst>
              <a:ext uri="{FF2B5EF4-FFF2-40B4-BE49-F238E27FC236}">
                <a16:creationId xmlns:a16="http://schemas.microsoft.com/office/drawing/2014/main" id="{EF5B0C4A-6D86-C694-8C4E-2C8F1A362517}"/>
              </a:ext>
            </a:extLst>
          </p:cNvPr>
          <p:cNvSpPr/>
          <p:nvPr/>
        </p:nvSpPr>
        <p:spPr>
          <a:xfrm>
            <a:off x="7885325" y="1414124"/>
            <a:ext cx="1008000" cy="230061"/>
          </a:xfrm>
          <a:prstGeom prst="chevron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ALYSE &amp; DESIGN</a:t>
            </a:r>
          </a:p>
        </p:txBody>
      </p:sp>
      <p:sp>
        <p:nvSpPr>
          <p:cNvPr id="29" name="Chevron 28">
            <a:extLst>
              <a:ext uri="{FF2B5EF4-FFF2-40B4-BE49-F238E27FC236}">
                <a16:creationId xmlns:a16="http://schemas.microsoft.com/office/drawing/2014/main" id="{EA2545F5-3CF3-26BA-E9E9-33557908304C}"/>
              </a:ext>
            </a:extLst>
          </p:cNvPr>
          <p:cNvSpPr/>
          <p:nvPr/>
        </p:nvSpPr>
        <p:spPr>
          <a:xfrm>
            <a:off x="6881848" y="1422192"/>
            <a:ext cx="1080000" cy="230061"/>
          </a:xfrm>
          <a:prstGeom prst="chevron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8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LANNING</a:t>
            </a:r>
          </a:p>
        </p:txBody>
      </p:sp>
      <p:sp>
        <p:nvSpPr>
          <p:cNvPr id="30" name="Chevron 29">
            <a:extLst>
              <a:ext uri="{FF2B5EF4-FFF2-40B4-BE49-F238E27FC236}">
                <a16:creationId xmlns:a16="http://schemas.microsoft.com/office/drawing/2014/main" id="{FC8ED96A-F67F-2D3A-6539-14217201C84F}"/>
              </a:ext>
            </a:extLst>
          </p:cNvPr>
          <p:cNvSpPr/>
          <p:nvPr/>
        </p:nvSpPr>
        <p:spPr>
          <a:xfrm>
            <a:off x="5867232" y="1419167"/>
            <a:ext cx="1080000" cy="230061"/>
          </a:xfrm>
          <a:prstGeom prst="chevron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8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ITIATION</a:t>
            </a:r>
          </a:p>
        </p:txBody>
      </p:sp>
      <p:sp>
        <p:nvSpPr>
          <p:cNvPr id="31" name="Chevron 30">
            <a:extLst>
              <a:ext uri="{FF2B5EF4-FFF2-40B4-BE49-F238E27FC236}">
                <a16:creationId xmlns:a16="http://schemas.microsoft.com/office/drawing/2014/main" id="{B09C3877-4D3E-FE44-FA95-3B944689A57E}"/>
              </a:ext>
            </a:extLst>
          </p:cNvPr>
          <p:cNvSpPr/>
          <p:nvPr/>
        </p:nvSpPr>
        <p:spPr>
          <a:xfrm>
            <a:off x="9837442" y="1414124"/>
            <a:ext cx="1080000" cy="230061"/>
          </a:xfrm>
          <a:prstGeom prst="chevron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b="1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INING &amp; CLOSE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06447FD0-C2AF-6F40-A7D2-292926AC99F0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385264087"/>
              </p:ext>
            </p:extLst>
          </p:nvPr>
        </p:nvGraphicFramePr>
        <p:xfrm>
          <a:off x="74938" y="3312011"/>
          <a:ext cx="5016004" cy="6506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16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9787">
                <a:tc>
                  <a:txBody>
                    <a:bodyPr/>
                    <a:lstStyle/>
                    <a:p>
                      <a:pPr algn="ctr"/>
                      <a:r>
                        <a:rPr lang="en-MY" sz="140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HIEVEMENTS</a:t>
                      </a:r>
                      <a:r>
                        <a:rPr lang="en-MY" sz="1400" baseline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/ KEY HIGHLIGHTS</a:t>
                      </a:r>
                      <a:endParaRPr lang="en-MY" sz="140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243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altLang="en-US" sz="900" b="0" i="0" kern="1200" baseline="0" dirty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nergy Sense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de merge between MVSC and myTNB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  <a:endParaRPr lang="en-GB" altLang="en-US" sz="900" b="0" i="0" kern="1200" baseline="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3" name="Rectangle 32">
            <a:extLst>
              <a:ext uri="{FF2B5EF4-FFF2-40B4-BE49-F238E27FC236}">
                <a16:creationId xmlns:a16="http://schemas.microsoft.com/office/drawing/2014/main" id="{B152F98E-879F-0DD2-2A07-205EBCCF00FD}"/>
              </a:ext>
            </a:extLst>
          </p:cNvPr>
          <p:cNvSpPr/>
          <p:nvPr/>
        </p:nvSpPr>
        <p:spPr>
          <a:xfrm>
            <a:off x="5867232" y="6420071"/>
            <a:ext cx="360000" cy="180000"/>
          </a:xfrm>
          <a:prstGeom prst="rect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F597AA3-0418-A49F-879B-D2935B56322D}"/>
              </a:ext>
            </a:extLst>
          </p:cNvPr>
          <p:cNvSpPr txBox="1"/>
          <p:nvPr/>
        </p:nvSpPr>
        <p:spPr>
          <a:xfrm>
            <a:off x="6164223" y="6410649"/>
            <a:ext cx="94699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Y" sz="7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Completed on tim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83424D6-1178-0A3E-423F-D80A95F06B63}"/>
              </a:ext>
            </a:extLst>
          </p:cNvPr>
          <p:cNvSpPr/>
          <p:nvPr/>
        </p:nvSpPr>
        <p:spPr>
          <a:xfrm>
            <a:off x="8328545" y="6420968"/>
            <a:ext cx="360000" cy="180000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5AEE516-1C35-9FFF-2892-F9BA7DF1F985}"/>
              </a:ext>
            </a:extLst>
          </p:cNvPr>
          <p:cNvSpPr txBox="1"/>
          <p:nvPr/>
        </p:nvSpPr>
        <p:spPr>
          <a:xfrm>
            <a:off x="8665014" y="6400913"/>
            <a:ext cx="102275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MY" altLang="en-US"/>
              <a:t>On track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1C5D3B2-598C-78DB-CB06-6B18355115F0}"/>
              </a:ext>
            </a:extLst>
          </p:cNvPr>
          <p:cNvSpPr/>
          <p:nvPr/>
        </p:nvSpPr>
        <p:spPr>
          <a:xfrm>
            <a:off x="9170909" y="6414845"/>
            <a:ext cx="360000" cy="180000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0C89041-A970-4065-5387-A3B9DF3F8E08}"/>
              </a:ext>
            </a:extLst>
          </p:cNvPr>
          <p:cNvSpPr txBox="1"/>
          <p:nvPr/>
        </p:nvSpPr>
        <p:spPr>
          <a:xfrm>
            <a:off x="9491823" y="6400850"/>
            <a:ext cx="140188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Y" sz="7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On going but might be delayed</a:t>
            </a:r>
            <a:endParaRPr lang="en-MY" sz="100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4CA8A11-5822-3BCA-4638-2239F4AC3309}"/>
              </a:ext>
            </a:extLst>
          </p:cNvPr>
          <p:cNvSpPr/>
          <p:nvPr/>
        </p:nvSpPr>
        <p:spPr>
          <a:xfrm>
            <a:off x="7066898" y="6425590"/>
            <a:ext cx="360000" cy="18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C78171A-03A2-3807-6735-520426206DDA}"/>
              </a:ext>
            </a:extLst>
          </p:cNvPr>
          <p:cNvSpPr txBox="1"/>
          <p:nvPr/>
        </p:nvSpPr>
        <p:spPr>
          <a:xfrm>
            <a:off x="7371142" y="6405535"/>
            <a:ext cx="10227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MY"/>
              <a:t>Completed but delay6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219CBB2A-8194-426D-0A68-C3B86A2F1D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8494096"/>
              </p:ext>
            </p:extLst>
          </p:nvPr>
        </p:nvGraphicFramePr>
        <p:xfrm>
          <a:off x="51108" y="873986"/>
          <a:ext cx="12102952" cy="479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15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30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06741">
                  <a:extLst>
                    <a:ext uri="{9D8B030D-6E8A-4147-A177-3AD203B41FA5}">
                      <a16:colId xmlns:a16="http://schemas.microsoft.com/office/drawing/2014/main" val="543009745"/>
                    </a:ext>
                  </a:extLst>
                </a:gridCol>
                <a:gridCol w="2682986">
                  <a:extLst>
                    <a:ext uri="{9D8B030D-6E8A-4147-A177-3AD203B41FA5}">
                      <a16:colId xmlns:a16="http://schemas.microsoft.com/office/drawing/2014/main" val="2554973498"/>
                    </a:ext>
                  </a:extLst>
                </a:gridCol>
                <a:gridCol w="1635582">
                  <a:extLst>
                    <a:ext uri="{9D8B030D-6E8A-4147-A177-3AD203B41FA5}">
                      <a16:colId xmlns:a16="http://schemas.microsoft.com/office/drawing/2014/main" val="971553795"/>
                    </a:ext>
                  </a:extLst>
                </a:gridCol>
                <a:gridCol w="1635582">
                  <a:extLst>
                    <a:ext uri="{9D8B030D-6E8A-4147-A177-3AD203B41FA5}">
                      <a16:colId xmlns:a16="http://schemas.microsoft.com/office/drawing/2014/main" val="376809988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 MANAGER (TNB)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relahajaraha binti Mahamed Ramly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RT DATE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  <a:r>
                        <a:rPr lang="en-MY" sz="1100" b="0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ebruary 2022</a:t>
                      </a:r>
                      <a:endParaRPr lang="en-MY" sz="1100" b="1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D DATE:</a:t>
                      </a:r>
                      <a:endParaRPr lang="en-MY" sz="11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  <a:r>
                        <a:rPr lang="en-US" sz="1100" b="0" baseline="30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1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ctober 2023</a:t>
                      </a:r>
                      <a:endParaRPr lang="en-MY" sz="11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 MANAGER (Innotech)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eu Jue Yue</a:t>
                      </a:r>
                      <a:endParaRPr lang="en-MY" sz="1100" b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PORT DATE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en-US" sz="1100" b="1" baseline="30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d</a:t>
                      </a: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ay 2024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RACT PERIOD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years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9535B5C6-C9EB-EE46-BDC2-2CD2077A3B4F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3351431876"/>
              </p:ext>
            </p:extLst>
          </p:nvPr>
        </p:nvGraphicFramePr>
        <p:xfrm>
          <a:off x="66596" y="4056511"/>
          <a:ext cx="5016004" cy="8442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16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5226">
                <a:tc>
                  <a:txBody>
                    <a:bodyPr/>
                    <a:lstStyle/>
                    <a:p>
                      <a:pPr algn="ctr"/>
                      <a:r>
                        <a:rPr lang="en-MY" sz="1400" b="1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NGOING ACTIVITIES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8883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ability Testing for myTNB Portal</a:t>
                      </a:r>
                      <a:endParaRPr lang="en-MY" altLang="en-US" sz="900" baseline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ystem Integration Test (SIT) MVSC with ICPP</a:t>
                      </a:r>
                    </a:p>
                  </a:txBody>
                  <a:tcPr marL="36000" marR="36000" marT="36000" marB="3600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2DF78AA1-64F3-ECE9-57E7-EBEA6A48BD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92983991"/>
              </p:ext>
            </p:extLst>
          </p:nvPr>
        </p:nvGraphicFramePr>
        <p:xfrm>
          <a:off x="619716" y="1762239"/>
          <a:ext cx="1332000" cy="1534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73F841D4-0863-DEE5-F04C-93866E207DC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51215640"/>
              </p:ext>
            </p:extLst>
          </p:nvPr>
        </p:nvGraphicFramePr>
        <p:xfrm>
          <a:off x="561512" y="1742619"/>
          <a:ext cx="1332000" cy="1534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597ADF8C-16B8-1F2A-3CA4-3068562714F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5184552"/>
              </p:ext>
            </p:extLst>
          </p:nvPr>
        </p:nvGraphicFramePr>
        <p:xfrm>
          <a:off x="3089494" y="1976251"/>
          <a:ext cx="1332000" cy="1330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EB547B6-C646-A50C-40C5-BE09F4990E4E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3859303473"/>
              </p:ext>
            </p:extLst>
          </p:nvPr>
        </p:nvGraphicFramePr>
        <p:xfrm>
          <a:off x="66596" y="4903182"/>
          <a:ext cx="5016004" cy="1088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16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3019">
                <a:tc>
                  <a:txBody>
                    <a:bodyPr/>
                    <a:lstStyle/>
                    <a:p>
                      <a:pPr algn="ctr"/>
                      <a:r>
                        <a:rPr lang="en-MY" sz="1400" b="1" dirty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PCOMING 2</a:t>
                      </a:r>
                      <a:r>
                        <a:rPr lang="en-MY" sz="1400" b="1" baseline="0" dirty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WEEKS ACTIVITIES</a:t>
                      </a:r>
                      <a:endParaRPr lang="en-MY" sz="800" b="1" dirty="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341"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o complete and sign off UI/UX design and functional design from Retail by 9</a:t>
                      </a:r>
                      <a:r>
                        <a:rPr lang="en-US" sz="800" strike="noStrike" kern="1200" baseline="300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</a:t>
                      </a: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May 2024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o complete SIT test by 10</a:t>
                      </a:r>
                      <a:r>
                        <a:rPr lang="en-US" sz="800" strike="noStrike" kern="1200" baseline="300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</a:t>
                      </a: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May 2024 (MVSC – ICPP)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o complete and sign off UI/UX design, functional design and usability test from Retail by 17</a:t>
                      </a:r>
                      <a:r>
                        <a:rPr lang="en-US" sz="800" strike="noStrike" kern="1200" baseline="300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</a:t>
                      </a: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May 2024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Get updates on myTNB AWS issue from ICT by 3</a:t>
                      </a:r>
                      <a:r>
                        <a:rPr lang="en-US" sz="800" strike="noStrike" kern="1200" baseline="300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d</a:t>
                      </a: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May 2024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ession with SOA and ICPP to resolve document issues on 6</a:t>
                      </a:r>
                      <a:r>
                        <a:rPr lang="en-US" sz="800" strike="noStrike" kern="1200" baseline="300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</a:t>
                      </a: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May 2024 at 11.30 am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ession with En. Hafizi on 10</a:t>
                      </a:r>
                      <a:r>
                        <a:rPr lang="en-US" sz="800" strike="noStrike" kern="1200" baseline="300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h</a:t>
                      </a:r>
                      <a:r>
                        <a:rPr lang="en-US" sz="8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May 2024 </a:t>
                      </a:r>
                    </a:p>
                  </a:txBody>
                  <a:tcPr marL="36000" marR="36000" marT="36000" marB="3600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02801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2" name="Tab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9428404"/>
              </p:ext>
            </p:extLst>
          </p:nvPr>
        </p:nvGraphicFramePr>
        <p:xfrm>
          <a:off x="37939" y="1012976"/>
          <a:ext cx="12102952" cy="646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15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30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06741">
                  <a:extLst>
                    <a:ext uri="{9D8B030D-6E8A-4147-A177-3AD203B41FA5}">
                      <a16:colId xmlns:a16="http://schemas.microsoft.com/office/drawing/2014/main" val="543009745"/>
                    </a:ext>
                  </a:extLst>
                </a:gridCol>
                <a:gridCol w="2682986">
                  <a:extLst>
                    <a:ext uri="{9D8B030D-6E8A-4147-A177-3AD203B41FA5}">
                      <a16:colId xmlns:a16="http://schemas.microsoft.com/office/drawing/2014/main" val="2554973498"/>
                    </a:ext>
                  </a:extLst>
                </a:gridCol>
                <a:gridCol w="1635582">
                  <a:extLst>
                    <a:ext uri="{9D8B030D-6E8A-4147-A177-3AD203B41FA5}">
                      <a16:colId xmlns:a16="http://schemas.microsoft.com/office/drawing/2014/main" val="971553795"/>
                    </a:ext>
                  </a:extLst>
                </a:gridCol>
                <a:gridCol w="1635582">
                  <a:extLst>
                    <a:ext uri="{9D8B030D-6E8A-4147-A177-3AD203B41FA5}">
                      <a16:colId xmlns:a16="http://schemas.microsoft.com/office/drawing/2014/main" val="376809988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 MANAGER (TNB)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relahajaraha binti Mahamed Ramly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RT DATE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  <a:r>
                        <a:rPr lang="en-MY" sz="1100" b="0" baseline="30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MY" sz="11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ebruary 2022</a:t>
                      </a:r>
                      <a:endParaRPr lang="en-MY" sz="11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D DATE:</a:t>
                      </a:r>
                      <a:endParaRPr lang="en-MY" sz="11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  <a:r>
                        <a:rPr lang="en-US" sz="1100" b="0" baseline="30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1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ctober 2023</a:t>
                      </a:r>
                      <a:endParaRPr lang="en-MY" sz="11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 MANAGER (Innotech)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eu </a:t>
                      </a:r>
                      <a:r>
                        <a:rPr lang="en-MY" sz="1100" b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e</a:t>
                      </a:r>
                      <a:r>
                        <a:rPr lang="en-MY" sz="11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ue</a:t>
                      </a:r>
                      <a:endParaRPr lang="en-MY" sz="1100" b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PORT DATE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en-US" sz="1100" b="1" baseline="30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d</a:t>
                      </a: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ay 2024</a:t>
                      </a:r>
                    </a:p>
                    <a:p>
                      <a:endParaRPr lang="en-US" sz="11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RACT PERIOD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years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9" name="Content Placeholder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98710860"/>
              </p:ext>
            </p:extLst>
          </p:nvPr>
        </p:nvGraphicFramePr>
        <p:xfrm>
          <a:off x="37935" y="5022502"/>
          <a:ext cx="12096368" cy="117814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898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034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65810">
                  <a:extLst>
                    <a:ext uri="{9D8B030D-6E8A-4147-A177-3AD203B41FA5}">
                      <a16:colId xmlns:a16="http://schemas.microsoft.com/office/drawing/2014/main" val="1420936780"/>
                    </a:ext>
                  </a:extLst>
                </a:gridCol>
                <a:gridCol w="4000500">
                  <a:extLst>
                    <a:ext uri="{9D8B030D-6E8A-4147-A177-3AD203B41FA5}">
                      <a16:colId xmlns:a16="http://schemas.microsoft.com/office/drawing/2014/main" val="2326033057"/>
                    </a:ext>
                  </a:extLst>
                </a:gridCol>
                <a:gridCol w="812273">
                  <a:extLst>
                    <a:ext uri="{9D8B030D-6E8A-4147-A177-3AD203B41FA5}">
                      <a16:colId xmlns:a16="http://schemas.microsoft.com/office/drawing/2014/main" val="2387154714"/>
                    </a:ext>
                  </a:extLst>
                </a:gridCol>
                <a:gridCol w="8122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12273">
                  <a:extLst>
                    <a:ext uri="{9D8B030D-6E8A-4147-A177-3AD203B41FA5}">
                      <a16:colId xmlns:a16="http://schemas.microsoft.com/office/drawing/2014/main" val="39105227"/>
                    </a:ext>
                  </a:extLst>
                </a:gridCol>
              </a:tblGrid>
              <a:tr h="227661">
                <a:tc gridSpan="7"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OP 3 ISSUES AND RECOMMENDATIONS</a:t>
                      </a: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LANNED START</a:t>
                      </a:r>
                      <a:endParaRPr lang="en-US" sz="11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UAL START</a:t>
                      </a:r>
                      <a:endParaRPr lang="en-US" sz="11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MY" altLang="en-US" sz="900" b="1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o.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ssue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ategory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esolution 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IC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ue Date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atus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4912">
                <a:tc>
                  <a:txBody>
                    <a:bodyPr/>
                    <a:lstStyle/>
                    <a:p>
                      <a:pPr algn="ctr"/>
                      <a:r>
                        <a:rPr lang="en-US" altLang="en-US" sz="900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  <a:endParaRPr lang="en-MY" altLang="en-US" sz="900" baseline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VPN cannot be accessed </a:t>
                      </a:r>
                      <a:endParaRPr lang="en-MY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High</a:t>
                      </a:r>
                      <a:endParaRPr lang="en-MY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Developers to go to TNB premise to continue working on development</a:t>
                      </a:r>
                      <a:endParaRPr lang="en-MY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notech / TNB</a:t>
                      </a:r>
                      <a:endParaRPr lang="en-MY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-</a:t>
                      </a:r>
                    </a:p>
                  </a:txBody>
                  <a:tcPr marL="81303" marR="81303" marT="40651" marB="40651" anchor="ctr"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pen</a:t>
                      </a:r>
                      <a:endParaRPr lang="en-MY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E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363707"/>
                  </a:ext>
                </a:extLst>
              </a:tr>
              <a:tr h="254912">
                <a:tc>
                  <a:txBody>
                    <a:bodyPr/>
                    <a:lstStyle/>
                    <a:p>
                      <a:pPr algn="ctr"/>
                      <a:r>
                        <a:rPr lang="en-MY" altLang="en-US" sz="9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MY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myTNB AWS Issue (code cannot be built locally)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MY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High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MY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Contacted ICT to identify potential problems (Pending Updates from ICT)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notech / TNB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  <a:r>
                        <a:rPr lang="en-MY" sz="900" strike="noStrike" kern="1200" baseline="300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d</a:t>
                      </a:r>
                      <a:r>
                        <a:rPr lang="en-MY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May 2024</a:t>
                      </a:r>
                    </a:p>
                  </a:txBody>
                  <a:tcPr marL="81303" marR="81303" marT="40651" marB="40651" anchor="ctr"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900" strike="noStrike" kern="1200" dirty="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pen</a:t>
                      </a:r>
                    </a:p>
                  </a:txBody>
                  <a:tcPr marL="81303" marR="81303" marT="40651" marB="40651" anchor="ctr">
                    <a:solidFill>
                      <a:srgbClr val="E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3224322"/>
                  </a:ext>
                </a:extLst>
              </a:tr>
            </a:tbl>
          </a:graphicData>
        </a:graphic>
      </p:graphicFrame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AA097E5C-F62F-235B-08D8-C68096535D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84884" y="114006"/>
            <a:ext cx="1520131" cy="770200"/>
          </a:xfrm>
          <a:prstGeom prst="rect">
            <a:avLst/>
          </a:prstGeom>
        </p:spPr>
      </p:pic>
      <p:sp>
        <p:nvSpPr>
          <p:cNvPr id="15" name="Snip Diagonal Corner of Rectangle 14">
            <a:extLst>
              <a:ext uri="{FF2B5EF4-FFF2-40B4-BE49-F238E27FC236}">
                <a16:creationId xmlns:a16="http://schemas.microsoft.com/office/drawing/2014/main" id="{6F4CF87C-5917-D15A-D3AB-DA1323E7D5AB}"/>
              </a:ext>
            </a:extLst>
          </p:cNvPr>
          <p:cNvSpPr/>
          <p:nvPr/>
        </p:nvSpPr>
        <p:spPr>
          <a:xfrm>
            <a:off x="37940" y="25062"/>
            <a:ext cx="12116120" cy="957578"/>
          </a:xfrm>
          <a:prstGeom prst="snip2DiagRect">
            <a:avLst/>
          </a:prstGeom>
          <a:noFill/>
          <a:ln w="28575"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0D0CC569-A6A3-BA90-C2E4-C55DE689FC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05659" y="100341"/>
            <a:ext cx="730181" cy="710915"/>
          </a:xfrm>
          <a:prstGeom prst="rect">
            <a:avLst/>
          </a:prstGeom>
        </p:spPr>
      </p:pic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185C7A97-FCDF-6FA5-BBCB-085F9F7C336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04588054"/>
              </p:ext>
            </p:extLst>
          </p:nvPr>
        </p:nvGraphicFramePr>
        <p:xfrm>
          <a:off x="37939" y="4107173"/>
          <a:ext cx="12102951" cy="72181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078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684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24680">
                  <a:extLst>
                    <a:ext uri="{9D8B030D-6E8A-4147-A177-3AD203B41FA5}">
                      <a16:colId xmlns:a16="http://schemas.microsoft.com/office/drawing/2014/main" val="1546230480"/>
                    </a:ext>
                  </a:extLst>
                </a:gridCol>
                <a:gridCol w="638246">
                  <a:extLst>
                    <a:ext uri="{9D8B030D-6E8A-4147-A177-3AD203B41FA5}">
                      <a16:colId xmlns:a16="http://schemas.microsoft.com/office/drawing/2014/main" val="1592806329"/>
                    </a:ext>
                  </a:extLst>
                </a:gridCol>
                <a:gridCol w="812264">
                  <a:extLst>
                    <a:ext uri="{9D8B030D-6E8A-4147-A177-3AD203B41FA5}">
                      <a16:colId xmlns:a16="http://schemas.microsoft.com/office/drawing/2014/main" val="3709612353"/>
                    </a:ext>
                  </a:extLst>
                </a:gridCol>
                <a:gridCol w="3396937">
                  <a:extLst>
                    <a:ext uri="{9D8B030D-6E8A-4147-A177-3AD203B41FA5}">
                      <a16:colId xmlns:a16="http://schemas.microsoft.com/office/drawing/2014/main" val="2387154714"/>
                    </a:ext>
                  </a:extLst>
                </a:gridCol>
                <a:gridCol w="7781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50187">
                  <a:extLst>
                    <a:ext uri="{9D8B030D-6E8A-4147-A177-3AD203B41FA5}">
                      <a16:colId xmlns:a16="http://schemas.microsoft.com/office/drawing/2014/main" val="3242066995"/>
                    </a:ext>
                  </a:extLst>
                </a:gridCol>
                <a:gridCol w="726282">
                  <a:extLst>
                    <a:ext uri="{9D8B030D-6E8A-4147-A177-3AD203B41FA5}">
                      <a16:colId xmlns:a16="http://schemas.microsoft.com/office/drawing/2014/main" val="2903180645"/>
                    </a:ext>
                  </a:extLst>
                </a:gridCol>
              </a:tblGrid>
              <a:tr h="227661">
                <a:tc gridSpan="9"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OP 3 RISKS AND MITIGATIONS</a:t>
                      </a: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LANNED END</a:t>
                      </a:r>
                      <a:endParaRPr lang="en-US" sz="11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UAL START</a:t>
                      </a:r>
                      <a:endParaRPr lang="en-US" sz="11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MY" altLang="en-US" sz="900" b="1" baseline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o.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isk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Likelihood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mpact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ategory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itigation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IC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ue Date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atus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4912">
                <a:tc>
                  <a:txBody>
                    <a:bodyPr/>
                    <a:lstStyle/>
                    <a:p>
                      <a:pPr algn="ctr"/>
                      <a:endParaRPr lang="en-MY" altLang="en-US" sz="900" baseline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9876709"/>
                  </a:ext>
                </a:extLst>
              </a:tr>
            </a:tbl>
          </a:graphicData>
        </a:graphic>
      </p:graphicFrame>
      <p:graphicFrame>
        <p:nvGraphicFramePr>
          <p:cNvPr id="3" name="Content Placeholder 1">
            <a:extLst>
              <a:ext uri="{FF2B5EF4-FFF2-40B4-BE49-F238E27FC236}">
                <a16:creationId xmlns:a16="http://schemas.microsoft.com/office/drawing/2014/main" id="{D2878D4B-DEA2-F49B-8BED-BB017E50996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82915586"/>
              </p:ext>
            </p:extLst>
          </p:nvPr>
        </p:nvGraphicFramePr>
        <p:xfrm>
          <a:off x="51105" y="1530666"/>
          <a:ext cx="12096000" cy="134102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7273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408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0812">
                  <a:extLst>
                    <a:ext uri="{9D8B030D-6E8A-4147-A177-3AD203B41FA5}">
                      <a16:colId xmlns:a16="http://schemas.microsoft.com/office/drawing/2014/main" val="2387154714"/>
                    </a:ext>
                  </a:extLst>
                </a:gridCol>
                <a:gridCol w="180490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52113">
                  <a:extLst>
                    <a:ext uri="{9D8B030D-6E8A-4147-A177-3AD203B41FA5}">
                      <a16:colId xmlns:a16="http://schemas.microsoft.com/office/drawing/2014/main" val="3885344299"/>
                    </a:ext>
                  </a:extLst>
                </a:gridCol>
              </a:tblGrid>
              <a:tr h="249008">
                <a:tc gridSpan="5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ION LIST </a:t>
                      </a: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LANNED START</a:t>
                      </a:r>
                      <a:endParaRPr lang="en-US" sz="11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UAL START</a:t>
                      </a:r>
                      <a:endParaRPr lang="en-US" sz="11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945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MY" altLang="en-US" sz="900" b="1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o. 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ction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IC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ue Date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alt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atus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8516">
                <a:tc>
                  <a:txBody>
                    <a:bodyPr/>
                    <a:lstStyle/>
                    <a:p>
                      <a:pPr algn="ctr"/>
                      <a:endParaRPr lang="en-MY" altLang="en-US" sz="900" b="0" baseline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MY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8758988"/>
                  </a:ext>
                </a:extLst>
              </a:tr>
              <a:tr h="218516">
                <a:tc>
                  <a:txBody>
                    <a:bodyPr/>
                    <a:lstStyle/>
                    <a:p>
                      <a:pPr algn="ctr"/>
                      <a:endParaRPr lang="en-MY" altLang="en-US" sz="900" b="0" baseline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MY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978086"/>
                  </a:ext>
                </a:extLst>
              </a:tr>
              <a:tr h="218516">
                <a:tc>
                  <a:txBody>
                    <a:bodyPr/>
                    <a:lstStyle/>
                    <a:p>
                      <a:pPr algn="ctr"/>
                      <a:endParaRPr lang="en-MY" altLang="en-US" sz="900" b="0" baseline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MY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5802286"/>
                  </a:ext>
                </a:extLst>
              </a:tr>
              <a:tr h="218516">
                <a:tc>
                  <a:txBody>
                    <a:bodyPr/>
                    <a:lstStyle/>
                    <a:p>
                      <a:pPr algn="ctr"/>
                      <a:endParaRPr lang="en-MY" altLang="en-US" sz="900" b="0" baseline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900" strike="noStrike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rgbClr val="E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6642226"/>
                  </a:ext>
                </a:extLst>
              </a:tr>
            </a:tbl>
          </a:graphicData>
        </a:graphic>
      </p:graphicFrame>
      <p:sp>
        <p:nvSpPr>
          <p:cNvPr id="16" name="Snip Diagonal Corner of Rectangle 13">
            <a:extLst>
              <a:ext uri="{FF2B5EF4-FFF2-40B4-BE49-F238E27FC236}">
                <a16:creationId xmlns:a16="http://schemas.microsoft.com/office/drawing/2014/main" id="{A13B3401-4F5B-461A-B2E3-B8CFF4244495}"/>
              </a:ext>
            </a:extLst>
          </p:cNvPr>
          <p:cNvSpPr/>
          <p:nvPr/>
        </p:nvSpPr>
        <p:spPr>
          <a:xfrm>
            <a:off x="186986" y="114007"/>
            <a:ext cx="6442414" cy="770199"/>
          </a:xfrm>
          <a:prstGeom prst="snip2DiagRect">
            <a:avLst>
              <a:gd name="adj1" fmla="val 0"/>
              <a:gd name="adj2" fmla="val 21983"/>
            </a:avLst>
          </a:prstGeom>
          <a:solidFill>
            <a:srgbClr val="2F5597"/>
          </a:solidFill>
          <a:ln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1600" b="1" u="sng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dium Voltage Supply Connection in </a:t>
            </a:r>
            <a:r>
              <a:rPr lang="en-US" sz="1600" b="1" u="sng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ergySense</a:t>
            </a:r>
            <a:r>
              <a:rPr lang="en-US" sz="1600" b="1" u="sng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MVSC)</a:t>
            </a:r>
          </a:p>
          <a:p>
            <a:pPr>
              <a:lnSpc>
                <a:spcPct val="150000"/>
              </a:lnSpc>
            </a:pPr>
            <a:r>
              <a:rPr lang="en-US" sz="14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JECT STATUS SUMMARY</a:t>
            </a:r>
            <a:endParaRPr lang="en-US" sz="1400" i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22327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AA097E5C-F62F-235B-08D8-C68096535D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84884" y="114006"/>
            <a:ext cx="1520131" cy="770200"/>
          </a:xfrm>
          <a:prstGeom prst="rect">
            <a:avLst/>
          </a:prstGeom>
        </p:spPr>
      </p:pic>
      <p:sp>
        <p:nvSpPr>
          <p:cNvPr id="15" name="Snip Diagonal Corner of Rectangle 14">
            <a:extLst>
              <a:ext uri="{FF2B5EF4-FFF2-40B4-BE49-F238E27FC236}">
                <a16:creationId xmlns:a16="http://schemas.microsoft.com/office/drawing/2014/main" id="{6F4CF87C-5917-D15A-D3AB-DA1323E7D5AB}"/>
              </a:ext>
            </a:extLst>
          </p:cNvPr>
          <p:cNvSpPr/>
          <p:nvPr/>
        </p:nvSpPr>
        <p:spPr>
          <a:xfrm>
            <a:off x="37940" y="25062"/>
            <a:ext cx="12116120" cy="957578"/>
          </a:xfrm>
          <a:prstGeom prst="snip2DiagRect">
            <a:avLst/>
          </a:prstGeom>
          <a:noFill/>
          <a:ln w="28575"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0D0CC569-A6A3-BA90-C2E4-C55DE689FC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05659" y="100341"/>
            <a:ext cx="730181" cy="710915"/>
          </a:xfrm>
          <a:prstGeom prst="rect">
            <a:avLst/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47BFC6C-56CF-8DB0-F068-61F9CF1EAE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9674288"/>
              </p:ext>
            </p:extLst>
          </p:nvPr>
        </p:nvGraphicFramePr>
        <p:xfrm>
          <a:off x="37939" y="1058696"/>
          <a:ext cx="12102952" cy="479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15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30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06741">
                  <a:extLst>
                    <a:ext uri="{9D8B030D-6E8A-4147-A177-3AD203B41FA5}">
                      <a16:colId xmlns:a16="http://schemas.microsoft.com/office/drawing/2014/main" val="543009745"/>
                    </a:ext>
                  </a:extLst>
                </a:gridCol>
                <a:gridCol w="2682986">
                  <a:extLst>
                    <a:ext uri="{9D8B030D-6E8A-4147-A177-3AD203B41FA5}">
                      <a16:colId xmlns:a16="http://schemas.microsoft.com/office/drawing/2014/main" val="2554973498"/>
                    </a:ext>
                  </a:extLst>
                </a:gridCol>
                <a:gridCol w="1635582">
                  <a:extLst>
                    <a:ext uri="{9D8B030D-6E8A-4147-A177-3AD203B41FA5}">
                      <a16:colId xmlns:a16="http://schemas.microsoft.com/office/drawing/2014/main" val="971553795"/>
                    </a:ext>
                  </a:extLst>
                </a:gridCol>
                <a:gridCol w="1635582">
                  <a:extLst>
                    <a:ext uri="{9D8B030D-6E8A-4147-A177-3AD203B41FA5}">
                      <a16:colId xmlns:a16="http://schemas.microsoft.com/office/drawing/2014/main" val="376809988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 MANAGER (TNB)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relahajaraha binti Mahamed Ramly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RT DATE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  <a:r>
                        <a:rPr lang="en-MY" sz="1100" b="0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ebruary 2022</a:t>
                      </a:r>
                      <a:endParaRPr lang="en-MY" sz="1100" b="1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D DATE:</a:t>
                      </a:r>
                      <a:endParaRPr lang="en-MY" sz="11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</a:t>
                      </a:r>
                      <a:r>
                        <a:rPr lang="en-US" sz="1100" b="0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July 2023</a:t>
                      </a:r>
                      <a:endParaRPr lang="en-MY" sz="11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 MANAGER (Innotech)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shmi Shah Nalkatli</a:t>
                      </a:r>
                      <a:endParaRPr lang="en-MY" sz="1100" b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PORT DATE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r>
                        <a:rPr lang="en-US" sz="1100" b="1" baseline="30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pril 2024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RACT PERIOD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years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D29F412F-2053-4524-A258-60582DC80D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109" y="1537976"/>
            <a:ext cx="6616699" cy="4765934"/>
          </a:xfrm>
          <a:prstGeom prst="rect">
            <a:avLst/>
          </a:prstGeom>
        </p:spPr>
      </p:pic>
      <p:sp>
        <p:nvSpPr>
          <p:cNvPr id="12" name="Snip Diagonal Corner of Rectangle 13">
            <a:extLst>
              <a:ext uri="{FF2B5EF4-FFF2-40B4-BE49-F238E27FC236}">
                <a16:creationId xmlns:a16="http://schemas.microsoft.com/office/drawing/2014/main" id="{DBC7917C-B29B-4DAD-B986-62B16AC6EA83}"/>
              </a:ext>
            </a:extLst>
          </p:cNvPr>
          <p:cNvSpPr/>
          <p:nvPr/>
        </p:nvSpPr>
        <p:spPr>
          <a:xfrm>
            <a:off x="186986" y="114007"/>
            <a:ext cx="6442414" cy="770199"/>
          </a:xfrm>
          <a:prstGeom prst="snip2DiagRect">
            <a:avLst>
              <a:gd name="adj1" fmla="val 0"/>
              <a:gd name="adj2" fmla="val 21983"/>
            </a:avLst>
          </a:prstGeom>
          <a:solidFill>
            <a:srgbClr val="2F5597"/>
          </a:solidFill>
          <a:ln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1600" b="1" u="sng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dium Voltage Supply Connection in </a:t>
            </a:r>
            <a:r>
              <a:rPr lang="en-US" sz="1600" b="1" u="sng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ergySense</a:t>
            </a:r>
            <a:r>
              <a:rPr lang="en-US" sz="1600" b="1" u="sng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MVSC)</a:t>
            </a:r>
          </a:p>
          <a:p>
            <a:pPr>
              <a:lnSpc>
                <a:spcPct val="150000"/>
              </a:lnSpc>
            </a:pPr>
            <a:r>
              <a:rPr lang="en-US" sz="14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JECT STATUS SUMMARY</a:t>
            </a:r>
            <a:endParaRPr lang="en-US" sz="1400" i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28822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AA097E5C-F62F-235B-08D8-C68096535D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84884" y="114006"/>
            <a:ext cx="1520131" cy="770200"/>
          </a:xfrm>
          <a:prstGeom prst="rect">
            <a:avLst/>
          </a:prstGeom>
        </p:spPr>
      </p:pic>
      <p:sp>
        <p:nvSpPr>
          <p:cNvPr id="15" name="Snip Diagonal Corner of Rectangle 14">
            <a:extLst>
              <a:ext uri="{FF2B5EF4-FFF2-40B4-BE49-F238E27FC236}">
                <a16:creationId xmlns:a16="http://schemas.microsoft.com/office/drawing/2014/main" id="{6F4CF87C-5917-D15A-D3AB-DA1323E7D5AB}"/>
              </a:ext>
            </a:extLst>
          </p:cNvPr>
          <p:cNvSpPr/>
          <p:nvPr/>
        </p:nvSpPr>
        <p:spPr>
          <a:xfrm>
            <a:off x="37940" y="25062"/>
            <a:ext cx="12116120" cy="957578"/>
          </a:xfrm>
          <a:prstGeom prst="snip2DiagRect">
            <a:avLst/>
          </a:prstGeom>
          <a:noFill/>
          <a:ln w="28575"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0D0CC569-A6A3-BA90-C2E4-C55DE689FC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05659" y="100341"/>
            <a:ext cx="730181" cy="710915"/>
          </a:xfrm>
          <a:prstGeom prst="rect">
            <a:avLst/>
          </a:prstGeom>
        </p:spPr>
      </p:pic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2C6D877-1875-5E3A-B7F9-89E51421E8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6279869"/>
              </p:ext>
            </p:extLst>
          </p:nvPr>
        </p:nvGraphicFramePr>
        <p:xfrm>
          <a:off x="37939" y="1602608"/>
          <a:ext cx="12087233" cy="189795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86100">
                  <a:extLst>
                    <a:ext uri="{9D8B030D-6E8A-4147-A177-3AD203B41FA5}">
                      <a16:colId xmlns:a16="http://schemas.microsoft.com/office/drawing/2014/main" val="640005101"/>
                    </a:ext>
                  </a:extLst>
                </a:gridCol>
                <a:gridCol w="8757725">
                  <a:extLst>
                    <a:ext uri="{9D8B030D-6E8A-4147-A177-3AD203B41FA5}">
                      <a16:colId xmlns:a16="http://schemas.microsoft.com/office/drawing/2014/main" val="2036078134"/>
                    </a:ext>
                  </a:extLst>
                </a:gridCol>
                <a:gridCol w="858901">
                  <a:extLst>
                    <a:ext uri="{9D8B030D-6E8A-4147-A177-3AD203B41FA5}">
                      <a16:colId xmlns:a16="http://schemas.microsoft.com/office/drawing/2014/main" val="3563466801"/>
                    </a:ext>
                  </a:extLst>
                </a:gridCol>
                <a:gridCol w="2084507">
                  <a:extLst>
                    <a:ext uri="{9D8B030D-6E8A-4147-A177-3AD203B41FA5}">
                      <a16:colId xmlns:a16="http://schemas.microsoft.com/office/drawing/2014/main" val="2540416788"/>
                    </a:ext>
                  </a:extLst>
                </a:gridCol>
              </a:tblGrid>
              <a:tr h="0">
                <a:tc gridSpan="4">
                  <a:txBody>
                    <a:bodyPr/>
                    <a:lstStyle/>
                    <a:p>
                      <a:pPr algn="ctr"/>
                      <a:r>
                        <a:rPr lang="en-US" sz="1100" b="1" kern="1200">
                          <a:solidFill>
                            <a:schemeClr val="lt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AYMENT MILESTONES</a:t>
                      </a:r>
                    </a:p>
                  </a:txBody>
                  <a:tcPr marL="81303" marR="81303" marT="40653" marB="40653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140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AYMENT MILESTONES</a:t>
                      </a:r>
                    </a:p>
                  </a:txBody>
                  <a:tcPr marL="81303" marR="81303" marT="40653" marB="40653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kern="1200">
                        <a:solidFill>
                          <a:schemeClr val="lt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kern="1200">
                        <a:solidFill>
                          <a:schemeClr val="lt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26332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MY" altLang="en-US" sz="900" b="1" kern="120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o.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MY" altLang="en-US" sz="900" b="1" kern="120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ilestones Description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%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b="1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atus</a:t>
                      </a:r>
                    </a:p>
                  </a:txBody>
                  <a:tcPr marL="81303" marR="81303" marT="40651" marB="40651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8799742"/>
                  </a:ext>
                </a:extLst>
              </a:tr>
              <a:tr h="0">
                <a:tc gridSpan="4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>
                          <a:solidFill>
                            <a:srgbClr val="EFEFEF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VSC</a:t>
                      </a:r>
                      <a:r>
                        <a:rPr lang="en-US" sz="1100" b="1" kern="1200">
                          <a:solidFill>
                            <a:schemeClr val="lt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IMPLEMENTATION</a:t>
                      </a:r>
                    </a:p>
                  </a:txBody>
                  <a:tcPr marL="81303" marR="81303" marT="40653" marB="40653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b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kern="1200">
                        <a:solidFill>
                          <a:schemeClr val="lt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3" marB="40653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9598558"/>
                  </a:ext>
                </a:extLst>
              </a:tr>
              <a:tr h="226946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MY" altLang="en-US" sz="900" kern="120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.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r>
                        <a:rPr lang="en-MY" altLang="en-US" sz="900" kern="120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ick-Off and URS Sign-Off 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0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AID</a:t>
                      </a:r>
                    </a:p>
                  </a:txBody>
                  <a:tcPr marL="81303" marR="81303" marT="40651" marB="40651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2560590"/>
                  </a:ext>
                </a:extLst>
              </a:tr>
              <a:tr h="22694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.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print 1 UAT Sign Off and Tech Service Go Live </a:t>
                      </a:r>
                      <a:endParaRPr lang="en-US" sz="90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%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1904324"/>
                  </a:ext>
                </a:extLst>
              </a:tr>
              <a:tr h="226946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</a:t>
                      </a: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print 2 UAT Sign Off and Tech Service Go Live </a:t>
                      </a:r>
                      <a:endParaRPr lang="en-US" sz="900" kern="120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%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3591496"/>
                  </a:ext>
                </a:extLst>
              </a:tr>
              <a:tr h="226946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.</a:t>
                      </a: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print 3 UAT Sign Off and Tech Service Go Live </a:t>
                      </a:r>
                      <a:endParaRPr lang="en-US" sz="900" kern="120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%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0596618"/>
                  </a:ext>
                </a:extLst>
              </a:tr>
              <a:tr h="226946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.</a:t>
                      </a: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chnical Documentation and Service </a:t>
                      </a:r>
                      <a:r>
                        <a:rPr lang="en-US" sz="900" kern="1200" err="1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oj</a:t>
                      </a:r>
                      <a:r>
                        <a:rPr lang="en-US" sz="900" kern="120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Closure</a:t>
                      </a: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strike="noStrike" kern="1200">
                          <a:solidFill>
                            <a:schemeClr val="dk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%</a:t>
                      </a: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strike="noStrike" kern="120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1303" marR="81303" marT="40651" marB="4065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1825492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47BFC6C-56CF-8DB0-F068-61F9CF1EAE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4474529"/>
              </p:ext>
            </p:extLst>
          </p:nvPr>
        </p:nvGraphicFramePr>
        <p:xfrm>
          <a:off x="37939" y="1058696"/>
          <a:ext cx="12102952" cy="479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15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30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06741">
                  <a:extLst>
                    <a:ext uri="{9D8B030D-6E8A-4147-A177-3AD203B41FA5}">
                      <a16:colId xmlns:a16="http://schemas.microsoft.com/office/drawing/2014/main" val="543009745"/>
                    </a:ext>
                  </a:extLst>
                </a:gridCol>
                <a:gridCol w="2682986">
                  <a:extLst>
                    <a:ext uri="{9D8B030D-6E8A-4147-A177-3AD203B41FA5}">
                      <a16:colId xmlns:a16="http://schemas.microsoft.com/office/drawing/2014/main" val="2554973498"/>
                    </a:ext>
                  </a:extLst>
                </a:gridCol>
                <a:gridCol w="1635582">
                  <a:extLst>
                    <a:ext uri="{9D8B030D-6E8A-4147-A177-3AD203B41FA5}">
                      <a16:colId xmlns:a16="http://schemas.microsoft.com/office/drawing/2014/main" val="971553795"/>
                    </a:ext>
                  </a:extLst>
                </a:gridCol>
                <a:gridCol w="1635582">
                  <a:extLst>
                    <a:ext uri="{9D8B030D-6E8A-4147-A177-3AD203B41FA5}">
                      <a16:colId xmlns:a16="http://schemas.microsoft.com/office/drawing/2014/main" val="376809988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 MANAGER (TNB)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relahajaraha binti Mahamed Ramly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RT DATE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  <a:r>
                        <a:rPr lang="en-MY" sz="1100" b="0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ebruary 2022</a:t>
                      </a:r>
                      <a:endParaRPr lang="en-MY" sz="1100" b="1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D DATE:</a:t>
                      </a:r>
                      <a:endParaRPr lang="en-MY" sz="11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</a:t>
                      </a:r>
                      <a:r>
                        <a:rPr lang="en-US" sz="1100" b="0" baseline="300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July 2023</a:t>
                      </a:r>
                      <a:endParaRPr lang="en-MY" sz="11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 MANAGER (Innotech)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shmi Shah Nalkatli</a:t>
                      </a:r>
                      <a:endParaRPr lang="en-MY" sz="1100" b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MY" sz="105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PORT DATE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ms-MY" sz="1100" b="0" baseline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th July 2023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1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RACT PERIOD: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MY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years</a:t>
                      </a:r>
                    </a:p>
                  </a:txBody>
                  <a:tcPr marL="36000" marR="36000" marT="36000" marB="36000"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2" name="Snip Diagonal Corner of Rectangle 13">
            <a:extLst>
              <a:ext uri="{FF2B5EF4-FFF2-40B4-BE49-F238E27FC236}">
                <a16:creationId xmlns:a16="http://schemas.microsoft.com/office/drawing/2014/main" id="{0E273524-D1C5-4171-B5A6-A3B24AD05C0F}"/>
              </a:ext>
            </a:extLst>
          </p:cNvPr>
          <p:cNvSpPr/>
          <p:nvPr/>
        </p:nvSpPr>
        <p:spPr>
          <a:xfrm>
            <a:off x="186986" y="114007"/>
            <a:ext cx="6442414" cy="770199"/>
          </a:xfrm>
          <a:prstGeom prst="snip2DiagRect">
            <a:avLst>
              <a:gd name="adj1" fmla="val 0"/>
              <a:gd name="adj2" fmla="val 21983"/>
            </a:avLst>
          </a:prstGeom>
          <a:solidFill>
            <a:srgbClr val="2F5597"/>
          </a:solidFill>
          <a:ln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1600" b="1" u="sng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dium Voltage Supply Connection in </a:t>
            </a:r>
            <a:r>
              <a:rPr lang="en-US" sz="1600" b="1" u="sng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ergySense</a:t>
            </a:r>
            <a:r>
              <a:rPr lang="en-US" sz="1600" b="1" u="sng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MVSC)</a:t>
            </a:r>
          </a:p>
          <a:p>
            <a:pPr>
              <a:lnSpc>
                <a:spcPct val="150000"/>
              </a:lnSpc>
            </a:pPr>
            <a:r>
              <a:rPr lang="en-US" sz="14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JECT STATUS SUMMARY</a:t>
            </a:r>
            <a:endParaRPr lang="en-US" sz="1400" i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06630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411f770-220a-47f5-b96a-99a900bce551">
      <Terms xmlns="http://schemas.microsoft.com/office/infopath/2007/PartnerControls"/>
    </lcf76f155ced4ddcb4097134ff3c332f>
    <TaxCatchAll xmlns="8f37eba0-b02f-4c63-8dab-e8ff8634d518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BCDEBFA47F8342A6731007345BBC4C" ma:contentTypeVersion="11" ma:contentTypeDescription="Create a new document." ma:contentTypeScope="" ma:versionID="61f93e2a6faf292863ac782ac852d21e">
  <xsd:schema xmlns:xsd="http://www.w3.org/2001/XMLSchema" xmlns:xs="http://www.w3.org/2001/XMLSchema" xmlns:p="http://schemas.microsoft.com/office/2006/metadata/properties" xmlns:ns2="3411f770-220a-47f5-b96a-99a900bce551" xmlns:ns3="8f37eba0-b02f-4c63-8dab-e8ff8634d518" targetNamespace="http://schemas.microsoft.com/office/2006/metadata/properties" ma:root="true" ma:fieldsID="b113773cd7d1db868210feb359bcc52f" ns2:_="" ns3:_="">
    <xsd:import namespace="3411f770-220a-47f5-b96a-99a900bce551"/>
    <xsd:import namespace="8f37eba0-b02f-4c63-8dab-e8ff8634d51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11f770-220a-47f5-b96a-99a900bce5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5b0b7006-5876-42bf-825b-482e86ead14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37eba0-b02f-4c63-8dab-e8ff8634d51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375455a8-d645-4f1c-a62f-7b273960a7cb}" ma:internalName="TaxCatchAll" ma:showField="CatchAllData" ma:web="8f37eba0-b02f-4c63-8dab-e8ff8634d51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7AE7FDA-5836-4249-A5EE-40ECD19F3172}">
  <ds:schemaRefs>
    <ds:schemaRef ds:uri="3411f770-220a-47f5-b96a-99a900bce551"/>
    <ds:schemaRef ds:uri="8f37eba0-b02f-4c63-8dab-e8ff8634d51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B9E1B50-983C-43BB-A1FA-49BF6B62FCA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1BBFF58-C1CF-4C7D-99F5-E1CC80DB9288}">
  <ds:schemaRefs>
    <ds:schemaRef ds:uri="3411f770-220a-47f5-b96a-99a900bce551"/>
    <ds:schemaRef ds:uri="8f37eba0-b02f-4c63-8dab-e8ff8634d51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05</TotalTime>
  <Words>1331</Words>
  <Application>Microsoft Office PowerPoint</Application>
  <PresentationFormat>Widescreen</PresentationFormat>
  <Paragraphs>452</Paragraphs>
  <Slides>7</Slides>
  <Notes>6</Notes>
  <HiddenSlides>2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Calibri Light</vt:lpstr>
      <vt:lpstr>Tahoma</vt:lpstr>
      <vt:lpstr>Office Theme</vt:lpstr>
      <vt:lpstr>think-cell Slide</vt:lpstr>
      <vt:lpstr>MEDIUM VOLTAGE SUPPLY CONNECTION IN ENERGYSENSE (MVSC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rehana</dc:creator>
  <cp:lastModifiedBy>Arvindh Innotech</cp:lastModifiedBy>
  <cp:revision>11</cp:revision>
  <dcterms:created xsi:type="dcterms:W3CDTF">2018-01-02T01:29:00Z</dcterms:created>
  <dcterms:modified xsi:type="dcterms:W3CDTF">2024-05-03T08:31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BCDEBFA47F8342A6731007345BBC4C</vt:lpwstr>
  </property>
  <property fmtid="{D5CDD505-2E9C-101B-9397-08002B2CF9AE}" pid="3" name="MediaServiceImageTags">
    <vt:lpwstr/>
  </property>
</Properties>
</file>